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tags/tag7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8.xml" ContentType="application/vnd.openxmlformats-officedocument.theme+xml"/>
  <Override PartName="/ppt/tags/tag10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4278" r:id="rId1"/>
    <p:sldMasterId id="2147484360" r:id="rId2"/>
    <p:sldMasterId id="2147484363" r:id="rId3"/>
    <p:sldMasterId id="2147484366" r:id="rId4"/>
    <p:sldMasterId id="2147484371" r:id="rId5"/>
    <p:sldMasterId id="2147484384" r:id="rId6"/>
    <p:sldMasterId id="2147484397" r:id="rId7"/>
    <p:sldMasterId id="2147484400" r:id="rId8"/>
  </p:sldMasterIdLst>
  <p:notesMasterIdLst>
    <p:notesMasterId r:id="rId20"/>
  </p:notesMasterIdLst>
  <p:handoutMasterIdLst>
    <p:handoutMasterId r:id="rId21"/>
  </p:handoutMasterIdLst>
  <p:sldIdLst>
    <p:sldId id="2359" r:id="rId9"/>
    <p:sldId id="2457" r:id="rId10"/>
    <p:sldId id="2458" r:id="rId11"/>
    <p:sldId id="2444" r:id="rId12"/>
    <p:sldId id="2441" r:id="rId13"/>
    <p:sldId id="2448" r:id="rId14"/>
    <p:sldId id="2455" r:id="rId15"/>
    <p:sldId id="2450" r:id="rId16"/>
    <p:sldId id="2445" r:id="rId17"/>
    <p:sldId id="2462" r:id="rId18"/>
    <p:sldId id="2454" r:id="rId19"/>
  </p:sldIdLst>
  <p:sldSz cx="12192000" cy="6858000"/>
  <p:notesSz cx="6810375" cy="9942513"/>
  <p:embeddedFontLst>
    <p:embeddedFont>
      <p:font typeface="Calibri" panose="020F0502020204030204" pitchFamily="34" charset="0"/>
      <p:regular r:id="rId22"/>
      <p:bold r:id="rId23"/>
      <p:italic r:id="rId24"/>
      <p:boldItalic r:id="rId25"/>
    </p:embeddedFont>
    <p:embeddedFont>
      <p:font typeface="Verdana" panose="020B0604030504040204" pitchFamily="34" charset="0"/>
      <p:regular r:id="rId26"/>
      <p:bold r:id="rId27"/>
      <p:italic r:id="rId28"/>
      <p:boldItalic r:id="rId29"/>
    </p:embeddedFont>
    <p:embeddedFont>
      <p:font typeface="Golos Text" panose="020B0604020202020204" charset="-52"/>
      <p:regular r:id="rId30"/>
      <p:bold r:id="rId31"/>
      <p:italic r:id="rId32"/>
      <p:boldItalic r:id="rId33"/>
    </p:embeddedFont>
    <p:embeddedFont>
      <p:font typeface="Rosatom" panose="020B0604020202020204" charset="0"/>
      <p:regular r:id="rId34"/>
      <p:bold r:id="rId35"/>
      <p:italic r:id="rId36"/>
      <p:boldItalic r:id="rId37"/>
    </p:embeddedFont>
  </p:embeddedFontLst>
  <p:custDataLst>
    <p:tags r:id="rId38"/>
  </p:custDataLst>
  <p:defaultTextStyle>
    <a:defPPr>
      <a:defRPr lang="ru-RU"/>
    </a:defPPr>
    <a:lvl1pPr marL="0" algn="l" defTabSz="90961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4771" algn="l" defTabSz="90961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09619" algn="l" defTabSz="90961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64379" algn="l" defTabSz="90961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19182" algn="l" defTabSz="90961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73989" algn="l" defTabSz="90961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28773" algn="l" defTabSz="90961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83535" algn="l" defTabSz="90961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38341" algn="l" defTabSz="909619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 userDrawn="1">
          <p15:clr>
            <a:srgbClr val="A4A3A4"/>
          </p15:clr>
        </p15:guide>
        <p15:guide id="2" pos="3840">
          <p15:clr>
            <a:srgbClr val="A4A3A4"/>
          </p15:clr>
        </p15:guide>
        <p15:guide id="3" orient="horz" pos="102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1" clrIdx="0"/>
  <p:cmAuthor id="2" name="Tefra" initials="T" lastIdx="14" clrIdx="1">
    <p:extLst>
      <p:ext uri="{19B8F6BF-5375-455C-9EA6-DF929625EA0E}">
        <p15:presenceInfo xmlns:p15="http://schemas.microsoft.com/office/powerpoint/2012/main" userId="Tefr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7598F"/>
    <a:srgbClr val="4B6B9B"/>
    <a:srgbClr val="D8E7F2"/>
    <a:srgbClr val="3E87BD"/>
    <a:srgbClr val="E5E6E9"/>
    <a:srgbClr val="F2F3F4"/>
    <a:srgbClr val="A3AED1"/>
    <a:srgbClr val="E1E7F8"/>
    <a:srgbClr val="26304E"/>
    <a:srgbClr val="E4EA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7994" autoAdjust="0"/>
    <p:restoredTop sz="94673"/>
  </p:normalViewPr>
  <p:slideViewPr>
    <p:cSldViewPr snapToGrid="0">
      <p:cViewPr varScale="1">
        <p:scale>
          <a:sx n="97" d="100"/>
          <a:sy n="97" d="100"/>
        </p:scale>
        <p:origin x="389" y="82"/>
      </p:cViewPr>
      <p:guideLst>
        <p:guide orient="horz" pos="3884"/>
        <p:guide pos="3840"/>
        <p:guide orient="horz" pos="102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66" d="100"/>
        <a:sy n="66" d="100"/>
      </p:scale>
      <p:origin x="0" y="0"/>
    </p:cViewPr>
  </p:notesTextViewPr>
  <p:sorterViewPr>
    <p:cViewPr varScale="1">
      <p:scale>
        <a:sx n="1" d="1"/>
        <a:sy n="1" d="1"/>
      </p:scale>
      <p:origin x="0" y="-1392"/>
    </p:cViewPr>
  </p:sorterViewPr>
  <p:notesViewPr>
    <p:cSldViewPr snapToGrid="0">
      <p:cViewPr varScale="1">
        <p:scale>
          <a:sx n="138" d="100"/>
          <a:sy n="138" d="100"/>
        </p:scale>
        <p:origin x="3720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font" Target="fonts/font5.fntdata"/><Relationship Id="rId39" Type="http://schemas.openxmlformats.org/officeDocument/2006/relationships/commentAuthors" Target="commentAuthors.xml"/><Relationship Id="rId21" Type="http://schemas.openxmlformats.org/officeDocument/2006/relationships/handoutMaster" Target="handoutMasters/handoutMaster1.xml"/><Relationship Id="rId34" Type="http://schemas.openxmlformats.org/officeDocument/2006/relationships/font" Target="fonts/font13.fntdata"/><Relationship Id="rId42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notesMaster" Target="notesMasters/notesMaster1.xml"/><Relationship Id="rId29" Type="http://schemas.openxmlformats.org/officeDocument/2006/relationships/font" Target="fonts/font8.fntdata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font" Target="fonts/font3.fntdata"/><Relationship Id="rId32" Type="http://schemas.openxmlformats.org/officeDocument/2006/relationships/font" Target="fonts/font11.fntdata"/><Relationship Id="rId37" Type="http://schemas.openxmlformats.org/officeDocument/2006/relationships/font" Target="fonts/font16.fntdata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font" Target="fonts/font2.fntdata"/><Relationship Id="rId28" Type="http://schemas.openxmlformats.org/officeDocument/2006/relationships/font" Target="fonts/font7.fntdata"/><Relationship Id="rId36" Type="http://schemas.openxmlformats.org/officeDocument/2006/relationships/font" Target="fonts/font15.fntdata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font" Target="fonts/font10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font" Target="fonts/font1.fntdata"/><Relationship Id="rId27" Type="http://schemas.openxmlformats.org/officeDocument/2006/relationships/font" Target="fonts/font6.fntdata"/><Relationship Id="rId30" Type="http://schemas.openxmlformats.org/officeDocument/2006/relationships/font" Target="fonts/font9.fntdata"/><Relationship Id="rId35" Type="http://schemas.openxmlformats.org/officeDocument/2006/relationships/font" Target="fonts/font14.fntdata"/><Relationship Id="rId43" Type="http://schemas.openxmlformats.org/officeDocument/2006/relationships/tableStyles" Target="tableStyles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font" Target="fonts/font4.fntdata"/><Relationship Id="rId33" Type="http://schemas.openxmlformats.org/officeDocument/2006/relationships/font" Target="fonts/font12.fntdata"/><Relationship Id="rId38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51905" cy="497603"/>
          </a:xfrm>
          <a:prstGeom prst="rect">
            <a:avLst/>
          </a:prstGeom>
        </p:spPr>
        <p:txBody>
          <a:bodyPr vert="horz" lIns="91168" tIns="45584" rIns="91168" bIns="4558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6881" y="1"/>
            <a:ext cx="2951905" cy="497603"/>
          </a:xfrm>
          <a:prstGeom prst="rect">
            <a:avLst/>
          </a:prstGeom>
        </p:spPr>
        <p:txBody>
          <a:bodyPr vert="horz" lIns="91168" tIns="45584" rIns="91168" bIns="45584" rtlCol="0"/>
          <a:lstStyle>
            <a:lvl1pPr algn="r">
              <a:defRPr sz="1200"/>
            </a:lvl1pPr>
          </a:lstStyle>
          <a:p>
            <a:fld id="{B7D342B0-9D68-4014-A3AD-926D613D56D0}" type="datetimeFigureOut">
              <a:rPr lang="ru-RU" smtClean="0"/>
              <a:pPr/>
              <a:t>19.04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43323"/>
            <a:ext cx="2951905" cy="497603"/>
          </a:xfrm>
          <a:prstGeom prst="rect">
            <a:avLst/>
          </a:prstGeom>
        </p:spPr>
        <p:txBody>
          <a:bodyPr vert="horz" lIns="91168" tIns="45584" rIns="91168" bIns="4558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6881" y="9443323"/>
            <a:ext cx="2951905" cy="497603"/>
          </a:xfrm>
          <a:prstGeom prst="rect">
            <a:avLst/>
          </a:prstGeom>
        </p:spPr>
        <p:txBody>
          <a:bodyPr vert="horz" lIns="91168" tIns="45584" rIns="91168" bIns="45584" rtlCol="0" anchor="b"/>
          <a:lstStyle>
            <a:lvl1pPr algn="r">
              <a:defRPr sz="1200"/>
            </a:lvl1pPr>
          </a:lstStyle>
          <a:p>
            <a:fld id="{702AF24E-A5A7-431E-9299-AE43CB03E4E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46037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51162" cy="497125"/>
          </a:xfrm>
          <a:prstGeom prst="rect">
            <a:avLst/>
          </a:prstGeom>
        </p:spPr>
        <p:txBody>
          <a:bodyPr vert="horz" lIns="91168" tIns="45584" rIns="91168" bIns="45584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7637" y="3"/>
            <a:ext cx="2951162" cy="497125"/>
          </a:xfrm>
          <a:prstGeom prst="rect">
            <a:avLst/>
          </a:prstGeom>
        </p:spPr>
        <p:txBody>
          <a:bodyPr vert="horz" lIns="91168" tIns="45584" rIns="91168" bIns="45584" rtlCol="0"/>
          <a:lstStyle>
            <a:lvl1pPr algn="r">
              <a:defRPr sz="1200"/>
            </a:lvl1pPr>
          </a:lstStyle>
          <a:p>
            <a:fld id="{A4537D74-604C-45C9-AF5A-A9D7A21A06BD}" type="datetimeFigureOut">
              <a:rPr lang="ru-RU" smtClean="0"/>
              <a:pPr/>
              <a:t>19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622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8" tIns="45584" rIns="91168" bIns="45584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038" y="4722695"/>
            <a:ext cx="5448300" cy="4474131"/>
          </a:xfrm>
          <a:prstGeom prst="rect">
            <a:avLst/>
          </a:prstGeom>
        </p:spPr>
        <p:txBody>
          <a:bodyPr vert="horz" lIns="91168" tIns="45584" rIns="91168" bIns="45584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3665"/>
            <a:ext cx="2951162" cy="497125"/>
          </a:xfrm>
          <a:prstGeom prst="rect">
            <a:avLst/>
          </a:prstGeom>
        </p:spPr>
        <p:txBody>
          <a:bodyPr vert="horz" lIns="91168" tIns="45584" rIns="91168" bIns="45584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7637" y="9443665"/>
            <a:ext cx="2951162" cy="497125"/>
          </a:xfrm>
          <a:prstGeom prst="rect">
            <a:avLst/>
          </a:prstGeom>
        </p:spPr>
        <p:txBody>
          <a:bodyPr vert="horz" lIns="91168" tIns="45584" rIns="91168" bIns="45584" rtlCol="0" anchor="b"/>
          <a:lstStyle>
            <a:lvl1pPr algn="r">
              <a:defRPr sz="1200"/>
            </a:lvl1pPr>
          </a:lstStyle>
          <a:p>
            <a:fld id="{64FC889F-F593-4514-899E-84B9778B380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8752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096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4771" algn="l" defTabSz="9096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09619" algn="l" defTabSz="9096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4379" algn="l" defTabSz="9096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19182" algn="l" defTabSz="9096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73989" algn="l" defTabSz="9096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28773" algn="l" defTabSz="9096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83535" algn="l" defTabSz="9096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38341" algn="l" defTabSz="9096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+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4FC889F-F593-4514-899E-84B9778B3801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02168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18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8.png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логот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793413" y="6374684"/>
            <a:ext cx="749300" cy="18256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200" smtClean="0">
                <a:solidFill>
                  <a:srgbClr val="0F398B"/>
                </a:solidFill>
                <a:latin typeface="+mj-lt"/>
                <a:ea typeface="Arial" charset="0"/>
                <a:cs typeface="Arial" charset="0"/>
              </a:rPr>
              <a:pPr algn="r"/>
              <a:t>‹#›</a:t>
            </a:fld>
            <a:endParaRPr lang="en-US" sz="1200" dirty="0">
              <a:solidFill>
                <a:srgbClr val="0F398B"/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57859" y="398917"/>
            <a:ext cx="8634187" cy="707072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401" b="1">
                <a:solidFill>
                  <a:srgbClr val="26304D"/>
                </a:solidFill>
                <a:latin typeface="Golos Text" panose="020B0503020202020204" pitchFamily="34" charset="-52"/>
                <a:ea typeface="Rosatom" panose="020B0503040504020204" pitchFamily="34" charset="-52"/>
                <a:cs typeface="Golos Text" panose="020B0503020202020204" pitchFamily="34" charset="-52"/>
              </a:defRPr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77E04B7-6406-F140-926B-405E8ABDA89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714269" y="412334"/>
            <a:ext cx="1828444" cy="514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617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408">
          <p15:clr>
            <a:srgbClr val="FBAE40"/>
          </p15:clr>
        </p15:guide>
        <p15:guide id="4" pos="3635">
          <p15:clr>
            <a:srgbClr val="FBAE40"/>
          </p15:clr>
        </p15:guide>
        <p15:guide id="5" pos="4044">
          <p15:clr>
            <a:srgbClr val="FBAE40"/>
          </p15:clr>
        </p15:guide>
        <p15:guide id="6" pos="7271">
          <p15:clr>
            <a:srgbClr val="FBAE40"/>
          </p15:clr>
        </p15:guide>
        <p15:guide id="7" orient="horz">
          <p15:clr>
            <a:srgbClr val="FBAE40"/>
          </p15:clr>
        </p15:guide>
        <p15:guide id="8" orient="horz" pos="4320">
          <p15:clr>
            <a:srgbClr val="FBAE40"/>
          </p15:clr>
        </p15:guide>
        <p15:guide id="9" orient="horz" pos="249">
          <p15:clr>
            <a:srgbClr val="FBAE40"/>
          </p15:clr>
        </p15:guide>
        <p15:guide id="10" orient="horz" pos="409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7529B8-A8D6-418C-AD87-D56BEFE8115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92047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F8608C-12AC-4F2C-817A-4F844EAC7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623612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4418" y="1125538"/>
            <a:ext cx="5513916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1534" y="1125538"/>
            <a:ext cx="5516033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5FB506-87E2-4EB3-B015-EE5B83E2D1A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477865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BFC94-1696-4CB6-A168-535B882060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586166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965A76-F4BA-4B90-80EA-EBCD616F3FF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926721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35E509-3C28-4FED-950B-29141B60B76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930683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F39E96-A847-4130-B301-52C0CE0127A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680802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74794C-CB4B-4F6F-912B-49CA2317E26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0305660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61ED9-C815-4EB4-9AE4-78712710C60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7420127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050867" y="0"/>
            <a:ext cx="2806700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4418" y="0"/>
            <a:ext cx="8223249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E23044-1029-48E4-A931-12C3F3C3EFD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202468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10">
            <a:extLst>
              <a:ext uri="{FF2B5EF4-FFF2-40B4-BE49-F238E27FC236}">
                <a16:creationId xmlns:a16="http://schemas.microsoft.com/office/drawing/2014/main" id="{0166678E-E2AF-4C19-A10D-5BF1C1EF56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4556760" y="0"/>
            <a:ext cx="7635240" cy="6858000"/>
          </a:xfrm>
          <a:prstGeom prst="rect">
            <a:avLst/>
          </a:prstGeom>
        </p:spPr>
      </p:pic>
      <p:sp>
        <p:nvSpPr>
          <p:cNvPr id="20" name="Текст 4">
            <a:extLst>
              <a:ext uri="{FF2B5EF4-FFF2-40B4-BE49-F238E27FC236}">
                <a16:creationId xmlns:a16="http://schemas.microsoft.com/office/drawing/2014/main" id="{DF20F98A-5234-4418-9EEA-11A3D6597D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2653" y="6122723"/>
            <a:ext cx="5443347" cy="29104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ru-RU" dirty="0"/>
              <a:t>2021</a:t>
            </a:r>
          </a:p>
        </p:txBody>
      </p:sp>
      <p:sp>
        <p:nvSpPr>
          <p:cNvPr id="21" name="Текст 4">
            <a:extLst>
              <a:ext uri="{FF2B5EF4-FFF2-40B4-BE49-F238E27FC236}">
                <a16:creationId xmlns:a16="http://schemas.microsoft.com/office/drawing/2014/main" id="{D4778C89-17C1-444D-AE9E-68E1264072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2653" y="5775824"/>
            <a:ext cx="7446318" cy="2910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9" name="Текст 18">
            <a:extLst>
              <a:ext uri="{FF2B5EF4-FFF2-40B4-BE49-F238E27FC236}">
                <a16:creationId xmlns:a16="http://schemas.microsoft.com/office/drawing/2014/main" id="{FEDBCB23-3345-8E44-962C-9F7ED6DE0C3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0575" y="1532202"/>
            <a:ext cx="9670872" cy="190005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3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4000" b="1" i="0" kern="0" dirty="0" smtClean="0">
                <a:solidFill>
                  <a:schemeClr val="tx1"/>
                </a:solidFill>
                <a:latin typeface="+mj-lt"/>
                <a:ea typeface="Rosatom" panose="020B0503040504020204" pitchFamily="34" charset="77"/>
                <a:cs typeface="+mj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3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презентации</a:t>
            </a: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7E667C0E-D476-CA4D-9BCB-080F2B3DCD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0575" y="3546693"/>
            <a:ext cx="7018808" cy="125995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ru-RU" dirty="0"/>
              <a:t>Дополнительный текст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FA91CE6-3660-42E5-B085-E3430311B1D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652653" y="444233"/>
            <a:ext cx="2133785" cy="59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30364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34434" y="1341437"/>
            <a:ext cx="11523133" cy="50403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24517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1" y="293689"/>
            <a:ext cx="223308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7034" y="2181226"/>
            <a:ext cx="110405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7034" y="3284539"/>
            <a:ext cx="4991100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62618759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7529B8-A8D6-418C-AD87-D56BEFE8115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3932776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F8608C-12AC-4F2C-817A-4F844EAC749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65945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24418" y="1125538"/>
            <a:ext cx="5513916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341534" y="1125538"/>
            <a:ext cx="5516033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5FB506-87E2-4EB3-B015-EE5B83E2D1A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1640466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4BFC94-1696-4CB6-A168-535B882060F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606792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965A76-F4BA-4B90-80EA-EBCD616F3FF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109933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35E509-3C28-4FED-950B-29141B60B76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174849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F39E96-A847-4130-B301-52C0CE0127A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46969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74794C-CB4B-4F6F-912B-49CA2317E26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212450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логот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793413" y="6374684"/>
            <a:ext cx="749300" cy="18256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200" smtClean="0">
                <a:solidFill>
                  <a:srgbClr val="0F398B"/>
                </a:solidFill>
                <a:latin typeface="+mj-lt"/>
                <a:ea typeface="Arial" charset="0"/>
                <a:cs typeface="Arial" charset="0"/>
              </a:rPr>
              <a:pPr algn="r"/>
              <a:t>‹#›</a:t>
            </a:fld>
            <a:endParaRPr lang="en-US" sz="1200" dirty="0">
              <a:solidFill>
                <a:srgbClr val="0F398B"/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57859" y="398917"/>
            <a:ext cx="8634187" cy="707072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401" b="1">
                <a:solidFill>
                  <a:srgbClr val="26304D"/>
                </a:solidFill>
                <a:latin typeface="Golos Text" panose="020B0503020202020204" pitchFamily="34" charset="-52"/>
                <a:ea typeface="Rosatom" panose="020B0503040504020204" pitchFamily="34" charset="-52"/>
                <a:cs typeface="Golos Text" panose="020B0503020202020204" pitchFamily="34" charset="-52"/>
              </a:defRPr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5DABD5E-9625-48A8-AD1A-54BE45DBE2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719851" y="412334"/>
            <a:ext cx="1822862" cy="5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676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408">
          <p15:clr>
            <a:srgbClr val="FBAE40"/>
          </p15:clr>
        </p15:guide>
        <p15:guide id="4" pos="3635">
          <p15:clr>
            <a:srgbClr val="FBAE40"/>
          </p15:clr>
        </p15:guide>
        <p15:guide id="5" pos="4044">
          <p15:clr>
            <a:srgbClr val="FBAE40"/>
          </p15:clr>
        </p15:guide>
        <p15:guide id="6" pos="7271">
          <p15:clr>
            <a:srgbClr val="FBAE40"/>
          </p15:clr>
        </p15:guide>
        <p15:guide id="7" orient="horz">
          <p15:clr>
            <a:srgbClr val="FBAE40"/>
          </p15:clr>
        </p15:guide>
        <p15:guide id="8" orient="horz" pos="4320">
          <p15:clr>
            <a:srgbClr val="FBAE40"/>
          </p15:clr>
        </p15:guide>
        <p15:guide id="9" orient="horz" pos="249">
          <p15:clr>
            <a:srgbClr val="FBAE40"/>
          </p15:clr>
        </p15:guide>
        <p15:guide id="10" orient="horz" pos="4093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B61ED9-C815-4EB4-9AE4-78712710C60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504097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050867" y="0"/>
            <a:ext cx="2806700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4418" y="0"/>
            <a:ext cx="8223249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4E23044-1029-48E4-A931-12C3F3C3EFD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920543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34434" y="1341437"/>
            <a:ext cx="11523133" cy="5040312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>
            <a:normAutofit/>
          </a:bodyPr>
          <a:lstStyle>
            <a:lvl1pPr marL="247031" indent="-247031" algn="l" defTabSz="892778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/>
              <a:t>Wizard Char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554672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10">
            <a:extLst>
              <a:ext uri="{FF2B5EF4-FFF2-40B4-BE49-F238E27FC236}">
                <a16:creationId xmlns:a16="http://schemas.microsoft.com/office/drawing/2014/main" id="{0166678E-E2AF-4C19-A10D-5BF1C1EF56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56760" y="0"/>
            <a:ext cx="7635240" cy="6858000"/>
          </a:xfrm>
          <a:prstGeom prst="rect">
            <a:avLst/>
          </a:prstGeom>
        </p:spPr>
      </p:pic>
      <p:sp>
        <p:nvSpPr>
          <p:cNvPr id="20" name="Текст 4">
            <a:extLst>
              <a:ext uri="{FF2B5EF4-FFF2-40B4-BE49-F238E27FC236}">
                <a16:creationId xmlns:a16="http://schemas.microsoft.com/office/drawing/2014/main" id="{DF20F98A-5234-4418-9EEA-11A3D6597D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2653" y="6122723"/>
            <a:ext cx="5443347" cy="29104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ru-RU" dirty="0"/>
              <a:t>2021</a:t>
            </a:r>
          </a:p>
        </p:txBody>
      </p:sp>
      <p:sp>
        <p:nvSpPr>
          <p:cNvPr id="21" name="Текст 4">
            <a:extLst>
              <a:ext uri="{FF2B5EF4-FFF2-40B4-BE49-F238E27FC236}">
                <a16:creationId xmlns:a16="http://schemas.microsoft.com/office/drawing/2014/main" id="{D4778C89-17C1-444D-AE9E-68E1264072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2653" y="5775824"/>
            <a:ext cx="7446318" cy="2910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9" name="Текст 18">
            <a:extLst>
              <a:ext uri="{FF2B5EF4-FFF2-40B4-BE49-F238E27FC236}">
                <a16:creationId xmlns:a16="http://schemas.microsoft.com/office/drawing/2014/main" id="{FEDBCB23-3345-8E44-962C-9F7ED6DE0C3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0575" y="1532202"/>
            <a:ext cx="9670872" cy="190005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3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4000" b="1" i="0" kern="0" dirty="0" smtClean="0">
                <a:solidFill>
                  <a:schemeClr val="tx1"/>
                </a:solidFill>
                <a:latin typeface="+mj-lt"/>
                <a:ea typeface="Rosatom" panose="020B0503040504020204" pitchFamily="34" charset="77"/>
                <a:cs typeface="+mj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3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презентации</a:t>
            </a: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7E667C0E-D476-CA4D-9BCB-080F2B3DCD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0575" y="3546693"/>
            <a:ext cx="7018808" cy="125995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ru-RU" dirty="0"/>
              <a:t>Дополнительный текст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FA91CE6-3660-42E5-B085-E3430311B1D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653" y="444233"/>
            <a:ext cx="2133785" cy="59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18476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логот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793413" y="6374684"/>
            <a:ext cx="749300" cy="18256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200" smtClean="0">
                <a:solidFill>
                  <a:srgbClr val="0F398B"/>
                </a:solidFill>
                <a:ea typeface="Arial" charset="0"/>
                <a:cs typeface="Arial" charset="0"/>
              </a:rPr>
              <a:pPr algn="r"/>
              <a:t>‹#›</a:t>
            </a:fld>
            <a:endParaRPr lang="en-US" sz="1200" dirty="0">
              <a:solidFill>
                <a:srgbClr val="0F398B"/>
              </a:solidFill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57859" y="398917"/>
            <a:ext cx="8634187" cy="707072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401" b="1">
                <a:solidFill>
                  <a:srgbClr val="26304D"/>
                </a:solidFill>
                <a:latin typeface="Golos Text" panose="020B0503020202020204" pitchFamily="34" charset="-52"/>
                <a:ea typeface="Rosatom" panose="020B0503040504020204" pitchFamily="34" charset="-52"/>
                <a:cs typeface="Golos Text" panose="020B0503020202020204" pitchFamily="34" charset="-52"/>
              </a:defRPr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5DABD5E-9625-48A8-AD1A-54BE45DBE2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9851" y="412334"/>
            <a:ext cx="1822862" cy="5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807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408">
          <p15:clr>
            <a:srgbClr val="FBAE40"/>
          </p15:clr>
        </p15:guide>
        <p15:guide id="4" pos="3635">
          <p15:clr>
            <a:srgbClr val="FBAE40"/>
          </p15:clr>
        </p15:guide>
        <p15:guide id="5" pos="4044">
          <p15:clr>
            <a:srgbClr val="FBAE40"/>
          </p15:clr>
        </p15:guide>
        <p15:guide id="6" pos="7271">
          <p15:clr>
            <a:srgbClr val="FBAE40"/>
          </p15:clr>
        </p15:guide>
        <p15:guide id="7" orient="horz">
          <p15:clr>
            <a:srgbClr val="FBAE40"/>
          </p15:clr>
        </p15:guide>
        <p15:guide id="8" orient="horz" pos="4320">
          <p15:clr>
            <a:srgbClr val="FBAE40"/>
          </p15:clr>
        </p15:guide>
        <p15:guide id="9" orient="horz" pos="249">
          <p15:clr>
            <a:srgbClr val="FBAE40"/>
          </p15:clr>
        </p15:guide>
        <p15:guide id="10" orient="horz" pos="4093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 свет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phic 10">
            <a:extLst>
              <a:ext uri="{FF2B5EF4-FFF2-40B4-BE49-F238E27FC236}">
                <a16:creationId xmlns:a16="http://schemas.microsoft.com/office/drawing/2014/main" id="{0166678E-E2AF-4C19-A10D-5BF1C1EF569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56760" y="0"/>
            <a:ext cx="7635240" cy="6858000"/>
          </a:xfrm>
          <a:prstGeom prst="rect">
            <a:avLst/>
          </a:prstGeom>
        </p:spPr>
      </p:pic>
      <p:sp>
        <p:nvSpPr>
          <p:cNvPr id="20" name="Текст 4">
            <a:extLst>
              <a:ext uri="{FF2B5EF4-FFF2-40B4-BE49-F238E27FC236}">
                <a16:creationId xmlns:a16="http://schemas.microsoft.com/office/drawing/2014/main" id="{DF20F98A-5234-4418-9EEA-11A3D6597DA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52653" y="6122723"/>
            <a:ext cx="5443347" cy="291045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ru-RU" dirty="0"/>
              <a:t>2021</a:t>
            </a:r>
          </a:p>
        </p:txBody>
      </p:sp>
      <p:sp>
        <p:nvSpPr>
          <p:cNvPr id="21" name="Текст 4">
            <a:extLst>
              <a:ext uri="{FF2B5EF4-FFF2-40B4-BE49-F238E27FC236}">
                <a16:creationId xmlns:a16="http://schemas.microsoft.com/office/drawing/2014/main" id="{D4778C89-17C1-444D-AE9E-68E1264072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2653" y="5775824"/>
            <a:ext cx="7446318" cy="29104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ru-RU" dirty="0"/>
              <a:t>ФИО</a:t>
            </a:r>
          </a:p>
        </p:txBody>
      </p:sp>
      <p:sp>
        <p:nvSpPr>
          <p:cNvPr id="9" name="Текст 18">
            <a:extLst>
              <a:ext uri="{FF2B5EF4-FFF2-40B4-BE49-F238E27FC236}">
                <a16:creationId xmlns:a16="http://schemas.microsoft.com/office/drawing/2014/main" id="{FEDBCB23-3345-8E44-962C-9F7ED6DE0C3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0575" y="1532202"/>
            <a:ext cx="9670872" cy="1900051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3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ru-RU" sz="4000" b="1" i="0" kern="0" dirty="0" smtClean="0">
                <a:solidFill>
                  <a:schemeClr val="tx1"/>
                </a:solidFill>
                <a:latin typeface="+mj-lt"/>
                <a:ea typeface="Rosatom" panose="020B0503040504020204" pitchFamily="34" charset="77"/>
                <a:cs typeface="+mj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marR="0" lvl="0" indent="0" algn="l" defTabSz="91360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dirty="0"/>
              <a:t>Название презентации</a:t>
            </a: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7E667C0E-D476-CA4D-9BCB-080F2B3DCD3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0575" y="3546693"/>
            <a:ext cx="7018808" cy="1259951"/>
          </a:xfrm>
          <a:prstGeom prst="rect">
            <a:avLst/>
          </a:prstGeom>
        </p:spPr>
        <p:txBody>
          <a:bodyPr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ru-RU" dirty="0"/>
              <a:t>Дополнительный текст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9FA91CE6-3660-42E5-B085-E3430311B1D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653" y="444233"/>
            <a:ext cx="2133785" cy="597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35907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логоти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793413" y="6374684"/>
            <a:ext cx="749300" cy="182563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1200" smtClean="0">
                <a:solidFill>
                  <a:srgbClr val="0F398B"/>
                </a:solidFill>
                <a:ea typeface="Arial" charset="0"/>
                <a:cs typeface="Arial" charset="0"/>
              </a:rPr>
              <a:pPr algn="r"/>
              <a:t>‹#›</a:t>
            </a:fld>
            <a:endParaRPr lang="en-US" sz="1200" dirty="0">
              <a:solidFill>
                <a:srgbClr val="0F398B"/>
              </a:solidFill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57859" y="398917"/>
            <a:ext cx="8634187" cy="707072"/>
          </a:xfrm>
          <a:prstGeom prst="rect">
            <a:avLst/>
          </a:prstGeom>
        </p:spPr>
        <p:txBody>
          <a:bodyPr lIns="0" tIns="0" rIns="0" bIns="0" anchor="t"/>
          <a:lstStyle>
            <a:lvl1pPr>
              <a:lnSpc>
                <a:spcPct val="100000"/>
              </a:lnSpc>
              <a:defRPr sz="2401" b="1">
                <a:solidFill>
                  <a:srgbClr val="26304D"/>
                </a:solidFill>
                <a:latin typeface="Golos Text" panose="020B0503020202020204" pitchFamily="34" charset="-52"/>
                <a:ea typeface="Rosatom" panose="020B0503040504020204" pitchFamily="34" charset="-52"/>
                <a:cs typeface="Golos Text" panose="020B0503020202020204" pitchFamily="34" charset="-52"/>
              </a:defRPr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15DABD5E-9625-48A8-AD1A-54BE45DBE2F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9851" y="412334"/>
            <a:ext cx="1822862" cy="512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395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>
          <p15:clr>
            <a:srgbClr val="FBAE40"/>
          </p15:clr>
        </p15:guide>
        <p15:guide id="2" pos="7680">
          <p15:clr>
            <a:srgbClr val="FBAE40"/>
          </p15:clr>
        </p15:guide>
        <p15:guide id="3" pos="408">
          <p15:clr>
            <a:srgbClr val="FBAE40"/>
          </p15:clr>
        </p15:guide>
        <p15:guide id="4" pos="3635">
          <p15:clr>
            <a:srgbClr val="FBAE40"/>
          </p15:clr>
        </p15:guide>
        <p15:guide id="5" pos="4044">
          <p15:clr>
            <a:srgbClr val="FBAE40"/>
          </p15:clr>
        </p15:guide>
        <p15:guide id="6" pos="7271">
          <p15:clr>
            <a:srgbClr val="FBAE40"/>
          </p15:clr>
        </p15:guide>
        <p15:guide id="7" orient="horz">
          <p15:clr>
            <a:srgbClr val="FBAE40"/>
          </p15:clr>
        </p15:guide>
        <p15:guide id="8" orient="horz" pos="4320">
          <p15:clr>
            <a:srgbClr val="FBAE40"/>
          </p15:clr>
        </p15:guide>
        <p15:guide id="9" orient="horz" pos="249">
          <p15:clr>
            <a:srgbClr val="FBAE40"/>
          </p15:clr>
        </p15:guide>
        <p15:guide id="10" orient="horz" pos="4093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719667" y="6085526"/>
            <a:ext cx="5353051" cy="19727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 sz="932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1218072" rtl="0" eaLnBrk="1" fontAlgn="auto" latinLnBrk="0" hangingPunct="1">
              <a:lnSpc>
                <a:spcPct val="90000"/>
              </a:lnSpc>
              <a:spcBef>
                <a:spcPts val="1332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10915650" y="6100237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932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932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9667" y="575201"/>
            <a:ext cx="8748184" cy="439859"/>
          </a:xfrm>
          <a:prstGeom prst="rect">
            <a:avLst/>
          </a:prstGeom>
        </p:spPr>
        <p:txBody>
          <a:bodyPr lIns="0" tIns="0" rIns="0" bIns="0"/>
          <a:lstStyle>
            <a:lvl1pPr>
              <a:defRPr sz="3064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19667" y="1966680"/>
            <a:ext cx="5353051" cy="328483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599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599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6411385" y="1966679"/>
            <a:ext cx="5253567" cy="32729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32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21814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719667" y="408140"/>
            <a:ext cx="8245517" cy="477924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>
              <a:defRPr sz="2398" b="1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0725997" y="6465659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F24603-9A1B-F342-92E0-89DE32840F75}" type="slidenum">
              <a:rPr kumimoji="0" lang="en-US" sz="932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pPr marL="0" marR="0" lvl="0" indent="0" algn="r" defTabSz="12180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32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46313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77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77"/>
                        <a:ext cx="215900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10851342" y="1973516"/>
            <a:ext cx="2491067" cy="10759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14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ast Modified 12.30.2014 4:54 PM Russia TZ 2 Standard Time</a:t>
            </a:r>
            <a:endParaRPr kumimoji="0" lang="ru-RU" sz="1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11001174" y="4191254"/>
            <a:ext cx="2191306" cy="10759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14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inted 12.5.2014 2:43 AM Russia TZ 2 Standard Time</a:t>
            </a:r>
            <a:endParaRPr kumimoji="0" lang="ru-RU" sz="1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676404" y="26991"/>
            <a:ext cx="920124" cy="23070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114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Rosatom"/>
                <a:ea typeface="+mn-ea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62984" y="946227"/>
            <a:ext cx="11724216" cy="24609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1926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63062" y="6252366"/>
            <a:ext cx="11628967" cy="16914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9571" marR="0" lvl="0" indent="-139571" algn="l" defTabSz="11926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63057" y="6578679"/>
            <a:ext cx="9336616" cy="16914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/>
          <a:p>
            <a:pPr marL="619881" marR="0" lvl="0" indent="-619881" algn="l" defTabSz="9104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3106" algn="l"/>
              </a:tabLst>
              <a:defRPr/>
            </a:pPr>
            <a:r>
              <a:rPr kumimoji="0" lang="ru-RU" sz="10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satom"/>
                <a:ea typeface="+mn-ea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976969" y="1157540"/>
            <a:ext cx="5799667" cy="511001"/>
            <a:chOff x="915" y="715"/>
            <a:chExt cx="2686" cy="315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144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99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satom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91144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99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Rosatom"/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0725997" y="6465659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F24603-9A1B-F342-92E0-89DE32840F75}" type="slidenum">
              <a:rPr kumimoji="0" lang="en-US" sz="932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pPr marL="0" marR="0" lvl="0" indent="0" algn="r" defTabSz="12180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32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220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77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77"/>
                        <a:ext cx="215900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10851342" y="1973516"/>
            <a:ext cx="2491067" cy="10759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14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ast Modified 12.30.2014 4:54 PM Russia TZ 2 Standard Time</a:t>
            </a:r>
            <a:endParaRPr kumimoji="0" lang="ru-RU" sz="1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11001174" y="4191254"/>
            <a:ext cx="2191306" cy="10759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14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inted 12.5.2014 2:43 AM Russia TZ 2 Standard Time</a:t>
            </a:r>
            <a:endParaRPr kumimoji="0" lang="ru-RU" sz="1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676404" y="26991"/>
            <a:ext cx="920124" cy="23070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114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Rosatom"/>
                <a:ea typeface="+mn-ea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62984" y="946227"/>
            <a:ext cx="11724216" cy="24609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1926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63062" y="6252366"/>
            <a:ext cx="11628967" cy="16914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9571" marR="0" lvl="0" indent="-139571" algn="l" defTabSz="11926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63057" y="6578679"/>
            <a:ext cx="9336616" cy="16914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/>
          <a:p>
            <a:pPr marL="619881" marR="0" lvl="0" indent="-619881" algn="l" defTabSz="9104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3106" algn="l"/>
              </a:tabLst>
              <a:defRPr/>
            </a:pPr>
            <a:r>
              <a:rPr kumimoji="0" lang="ru-RU" sz="10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satom"/>
                <a:ea typeface="+mn-ea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976969" y="1157540"/>
            <a:ext cx="5799667" cy="511001"/>
            <a:chOff x="915" y="715"/>
            <a:chExt cx="2686" cy="315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144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99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satom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91144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99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Rosatom"/>
                  <a:ea typeface="+mn-ea"/>
                  <a:cs typeface="+mn-cs"/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284995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3" y="77"/>
          <a:ext cx="215900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3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77"/>
                        <a:ext cx="215900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10851342" y="1973516"/>
            <a:ext cx="2491067" cy="10759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14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9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Last Modified 12.30.2014 4:54 PM Russia TZ 2 Standard Time</a:t>
            </a:r>
            <a:endParaRPr kumimoji="0" lang="ru-RU" sz="1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11001174" y="4191254"/>
            <a:ext cx="2191306" cy="10759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14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Printed 12.5.2014 2:43 AM Russia TZ 2 Standard Time</a:t>
            </a:r>
            <a:endParaRPr kumimoji="0" lang="ru-RU" sz="1599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676404" y="26991"/>
            <a:ext cx="920124" cy="230704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1144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Rosatom"/>
                <a:ea typeface="+mn-ea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62984" y="946227"/>
            <a:ext cx="11724216" cy="246093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11926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99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63062" y="6252366"/>
            <a:ext cx="11628967" cy="16914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39571" marR="0" lvl="0" indent="-139571" algn="l" defTabSz="119269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63057" y="6578679"/>
            <a:ext cx="9336616" cy="16914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>
            <a:spAutoFit/>
          </a:bodyPr>
          <a:lstStyle/>
          <a:p>
            <a:pPr marL="619881" marR="0" lvl="0" indent="-619881" algn="l" defTabSz="91047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23106" algn="l"/>
              </a:tabLst>
              <a:defRPr/>
            </a:pPr>
            <a:r>
              <a:rPr kumimoji="0" lang="ru-RU" sz="1099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Rosatom"/>
                <a:ea typeface="+mn-ea"/>
                <a:cs typeface="+mn-cs"/>
              </a:rPr>
              <a:t>ИСТОЧНИК: источник</a:t>
            </a:r>
          </a:p>
        </p:txBody>
      </p:sp>
      <p:grpSp>
        <p:nvGrpSpPr>
          <p:cNvPr id="2" name="ACET" hidden="1"/>
          <p:cNvGrpSpPr>
            <a:grpSpLocks/>
          </p:cNvGrpSpPr>
          <p:nvPr/>
        </p:nvGrpSpPr>
        <p:grpSpPr bwMode="auto">
          <a:xfrm>
            <a:off x="1976969" y="1157540"/>
            <a:ext cx="5799667" cy="511001"/>
            <a:chOff x="915" y="715"/>
            <a:chExt cx="2686" cy="315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144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99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Rosatom"/>
                  <a:ea typeface="+mn-ea"/>
                  <a:cs typeface="+mn-cs"/>
                </a:rPr>
                <a:t>Title</a:t>
              </a:r>
            </a:p>
            <a:p>
              <a:pPr marL="0" marR="0" lvl="0" indent="0" algn="l" defTabSz="911445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599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Rosatom"/>
                  <a:ea typeface="+mn-ea"/>
                  <a:cs typeface="+mn-cs"/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579637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801" y="293689"/>
            <a:ext cx="2233084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17034" y="2181226"/>
            <a:ext cx="110405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817034" y="3284539"/>
            <a:ext cx="4991100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826374964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7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theme" Target="../theme/theme5.xml"/><Relationship Id="rId18" Type="http://schemas.openxmlformats.org/officeDocument/2006/relationships/image" Target="../media/image10.emf"/><Relationship Id="rId3" Type="http://schemas.openxmlformats.org/officeDocument/2006/relationships/slideLayout" Target="../slideLayouts/slideLayout11.xml"/><Relationship Id="rId21" Type="http://schemas.openxmlformats.org/officeDocument/2006/relationships/image" Target="../media/image14.png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oleObject" Target="../embeddings/oleObject6.bin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11.jpeg"/><Relationship Id="rId20" Type="http://schemas.openxmlformats.org/officeDocument/2006/relationships/image" Target="../media/image13.png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tags" Target="../tags/tag7.xml"/><Relationship Id="rId10" Type="http://schemas.openxmlformats.org/officeDocument/2006/relationships/slideLayout" Target="../slideLayouts/slideLayout18.xml"/><Relationship Id="rId19" Type="http://schemas.openxmlformats.org/officeDocument/2006/relationships/image" Target="../media/image12.png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vmlDrawing" Target="../drawings/vmlDrawing6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heme" Target="../theme/theme6.xml"/><Relationship Id="rId18" Type="http://schemas.openxmlformats.org/officeDocument/2006/relationships/image" Target="../media/image10.emf"/><Relationship Id="rId3" Type="http://schemas.openxmlformats.org/officeDocument/2006/relationships/slideLayout" Target="../slideLayouts/slideLayout23.xml"/><Relationship Id="rId21" Type="http://schemas.openxmlformats.org/officeDocument/2006/relationships/image" Target="../media/image14.png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oleObject" Target="../embeddings/oleObject7.bin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1.jpeg"/><Relationship Id="rId20" Type="http://schemas.openxmlformats.org/officeDocument/2006/relationships/image" Target="../media/image13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30.xml"/><Relationship Id="rId19" Type="http://schemas.openxmlformats.org/officeDocument/2006/relationships/image" Target="../media/image12.png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vmlDrawing" Target="../drawings/vmlDrawing7.v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oleObject" Target="../embeddings/oleObject8.bin"/><Relationship Id="rId5" Type="http://schemas.openxmlformats.org/officeDocument/2006/relationships/tags" Target="../tags/tag9.xml"/><Relationship Id="rId4" Type="http://schemas.openxmlformats.org/officeDocument/2006/relationships/vmlDrawing" Target="../drawings/vmlDrawing8.v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oleObject" Target="../embeddings/oleObject9.bin"/><Relationship Id="rId5" Type="http://schemas.openxmlformats.org/officeDocument/2006/relationships/tags" Target="../tags/tag10.xml"/><Relationship Id="rId4" Type="http://schemas.openxmlformats.org/officeDocument/2006/relationships/vmlDrawing" Target="../drawings/vmlDrawing9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29715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59554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</p:sldLayoutIdLst>
  <p:hf sldNum="0" hdr="0"/>
  <p:txStyles>
    <p:titleStyle>
      <a:lvl1pPr algn="l" defTabSz="913603" rtl="0" eaLnBrk="1" latinLnBrk="0" hangingPunct="1">
        <a:lnSpc>
          <a:spcPct val="90000"/>
        </a:lnSpc>
        <a:spcBef>
          <a:spcPct val="0"/>
        </a:spcBef>
        <a:buNone/>
        <a:defRPr sz="439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02" indent="-228402" algn="l" defTabSz="9136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7" kern="1200">
          <a:solidFill>
            <a:schemeClr val="tx1"/>
          </a:solidFill>
          <a:latin typeface="+mn-lt"/>
          <a:ea typeface="+mn-ea"/>
          <a:cs typeface="+mn-cs"/>
        </a:defRPr>
      </a:lvl1pPr>
      <a:lvl2pPr marL="685203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142004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3pPr>
      <a:lvl4pPr marL="1598805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5607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2408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69209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011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2812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801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603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404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205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008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0810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7611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4412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408" userDrawn="1">
          <p15:clr>
            <a:srgbClr val="F26B43"/>
          </p15:clr>
        </p15:guide>
        <p15:guide id="4" pos="3783" userDrawn="1">
          <p15:clr>
            <a:srgbClr val="F26B43"/>
          </p15:clr>
        </p15:guide>
        <p15:guide id="5" pos="3896" userDrawn="1">
          <p15:clr>
            <a:srgbClr val="F26B43"/>
          </p15:clr>
        </p15:guide>
        <p15:guide id="6" pos="7271" userDrawn="1">
          <p15:clr>
            <a:srgbClr val="F26B43"/>
          </p15:clr>
        </p15:guide>
        <p15:guide id="7" orient="horz" userDrawn="1">
          <p15:clr>
            <a:srgbClr val="F26B43"/>
          </p15:clr>
        </p15:guide>
        <p15:guide id="8" orient="horz" pos="4320" userDrawn="1">
          <p15:clr>
            <a:srgbClr val="F26B43"/>
          </p15:clr>
        </p15:guide>
        <p15:guide id="9" orient="horz" pos="249" userDrawn="1">
          <p15:clr>
            <a:srgbClr val="F26B43"/>
          </p15:clr>
        </p15:guide>
        <p15:guide id="10" orient="horz" pos="2114" userDrawn="1">
          <p15:clr>
            <a:srgbClr val="F26B43"/>
          </p15:clr>
        </p15:guide>
        <p15:guide id="11" orient="horz" pos="2228" userDrawn="1">
          <p15:clr>
            <a:srgbClr val="F26B43"/>
          </p15:clr>
        </p15:guide>
        <p15:guide id="12" orient="horz" pos="409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09611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Слайд think-cell" r:id="rId6" imgW="306" imgH="306" progId="TCLayout.ActiveDocument.1">
                  <p:embed/>
                </p:oleObj>
              </mc:Choice>
              <mc:Fallback>
                <p:oleObj name="Слайд think-cell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22163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1" r:id="rId1"/>
    <p:sldLayoutId id="2147484362" r:id="rId2"/>
  </p:sldLayoutIdLst>
  <p:hf sldNum="0" hdr="0"/>
  <p:txStyles>
    <p:titleStyle>
      <a:lvl1pPr algn="l" defTabSz="913603" rtl="0" eaLnBrk="1" latinLnBrk="0" hangingPunct="1">
        <a:lnSpc>
          <a:spcPct val="90000"/>
        </a:lnSpc>
        <a:spcBef>
          <a:spcPct val="0"/>
        </a:spcBef>
        <a:buNone/>
        <a:defRPr sz="439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02" indent="-228402" algn="l" defTabSz="9136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7" kern="1200">
          <a:solidFill>
            <a:schemeClr val="tx1"/>
          </a:solidFill>
          <a:latin typeface="+mn-lt"/>
          <a:ea typeface="+mn-ea"/>
          <a:cs typeface="+mn-cs"/>
        </a:defRPr>
      </a:lvl1pPr>
      <a:lvl2pPr marL="685203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142004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3pPr>
      <a:lvl4pPr marL="1598805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5607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2408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69209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011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2812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801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603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404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205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008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0810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7611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4412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408">
          <p15:clr>
            <a:srgbClr val="F26B43"/>
          </p15:clr>
        </p15:guide>
        <p15:guide id="4" pos="3783">
          <p15:clr>
            <a:srgbClr val="F26B43"/>
          </p15:clr>
        </p15:guide>
        <p15:guide id="5" pos="3896">
          <p15:clr>
            <a:srgbClr val="F26B43"/>
          </p15:clr>
        </p15:guide>
        <p15:guide id="6" pos="7271">
          <p15:clr>
            <a:srgbClr val="F26B43"/>
          </p15:clr>
        </p15:guide>
        <p15:guide id="7" orient="horz">
          <p15:clr>
            <a:srgbClr val="F26B43"/>
          </p15:clr>
        </p15:guide>
        <p15:guide id="8" orient="horz" pos="4320">
          <p15:clr>
            <a:srgbClr val="F26B43"/>
          </p15:clr>
        </p15:guide>
        <p15:guide id="9" orient="horz" pos="249">
          <p15:clr>
            <a:srgbClr val="F26B43"/>
          </p15:clr>
        </p15:guide>
        <p15:guide id="10" orient="horz" pos="2114">
          <p15:clr>
            <a:srgbClr val="F26B43"/>
          </p15:clr>
        </p15:guide>
        <p15:guide id="11" orient="horz" pos="2228">
          <p15:clr>
            <a:srgbClr val="F26B43"/>
          </p15:clr>
        </p15:guide>
        <p15:guide id="12" orient="horz" pos="409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1"/>
            <a:ext cx="1218117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3004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4" r:id="rId1"/>
  </p:sldLayoutIdLst>
  <p:txStyles>
    <p:titleStyle>
      <a:lvl1pPr algn="l" defTabSz="1218072" rtl="0" eaLnBrk="1" latinLnBrk="0" hangingPunct="1">
        <a:lnSpc>
          <a:spcPct val="90000"/>
        </a:lnSpc>
        <a:spcBef>
          <a:spcPct val="0"/>
        </a:spcBef>
        <a:buNone/>
        <a:defRPr sz="586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4518" indent="-304518" algn="l" defTabSz="1218072" rtl="0" eaLnBrk="1" latinLnBrk="0" hangingPunct="1">
        <a:lnSpc>
          <a:spcPct val="90000"/>
        </a:lnSpc>
        <a:spcBef>
          <a:spcPts val="1332"/>
        </a:spcBef>
        <a:buFont typeface="Arial"/>
        <a:buChar char="•"/>
        <a:defRPr sz="3730" kern="1200">
          <a:solidFill>
            <a:schemeClr val="tx1"/>
          </a:solidFill>
          <a:latin typeface="+mn-lt"/>
          <a:ea typeface="+mn-ea"/>
          <a:cs typeface="+mn-cs"/>
        </a:defRPr>
      </a:lvl1pPr>
      <a:lvl2pPr marL="913554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522590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2131626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740663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349699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958735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567771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5176807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036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072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7108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6144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5181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4217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3253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2289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0" y="-20301"/>
            <a:ext cx="10399776" cy="980688"/>
          </a:xfrm>
          <a:prstGeom prst="rect">
            <a:avLst/>
          </a:prstGeom>
          <a:solidFill>
            <a:srgbClr val="118F4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9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satom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 userDrawn="1"/>
        </p:nvSpPr>
        <p:spPr>
          <a:xfrm>
            <a:off x="0" y="879162"/>
            <a:ext cx="12192000" cy="108814"/>
          </a:xfrm>
          <a:prstGeom prst="rect">
            <a:avLst/>
          </a:prstGeom>
          <a:solidFill>
            <a:srgbClr val="055C9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ctr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99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satom"/>
              <a:ea typeface="+mn-ea"/>
              <a:cs typeface="+mn-cs"/>
            </a:endParaRPr>
          </a:p>
        </p:txBody>
      </p:sp>
      <p:pic>
        <p:nvPicPr>
          <p:cNvPr id="8" name="Рисунок 6">
            <a:extLst>
              <a:ext uri="{FF2B5EF4-FFF2-40B4-BE49-F238E27FC236}">
                <a16:creationId xmlns:a16="http://schemas.microsoft.com/office/drawing/2014/main" id="{B98BAF72-4F69-694E-A887-2D32FD1EE56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19201" y="298478"/>
            <a:ext cx="1480455" cy="3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33268" y="291132"/>
            <a:ext cx="893896" cy="321505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719667" y="408139"/>
            <a:ext cx="8221133" cy="4710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15" name="Slide Number Placeholder 5"/>
          <p:cNvSpPr txBox="1">
            <a:spLocks/>
          </p:cNvSpPr>
          <p:nvPr userDrawn="1"/>
        </p:nvSpPr>
        <p:spPr>
          <a:xfrm>
            <a:off x="10725997" y="6465659"/>
            <a:ext cx="749300" cy="182563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12180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F24603-9A1B-F342-92E0-89DE32840F75}" type="slidenum">
              <a:rPr kumimoji="0" lang="en-US" sz="932" b="0" i="0" u="none" strike="noStrike" kern="1200" cap="none" spc="0" normalizeH="0" baseline="0" noProof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pPr marL="0" marR="0" lvl="0" indent="0" algn="r" defTabSz="12180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32" b="0" i="0" u="none" strike="noStrike" kern="1200" cap="none" spc="0" normalizeH="0" baseline="0" noProof="0" dirty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06481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7" r:id="rId1"/>
    <p:sldLayoutId id="2147484368" r:id="rId2"/>
    <p:sldLayoutId id="2147484369" r:id="rId3"/>
    <p:sldLayoutId id="2147484370" r:id="rId4"/>
  </p:sldLayoutIdLst>
  <p:txStyles>
    <p:titleStyle>
      <a:lvl1pPr marL="0" algn="l" defTabSz="1218072" rtl="0" eaLnBrk="1" latinLnBrk="0" hangingPunct="1">
        <a:lnSpc>
          <a:spcPct val="90000"/>
        </a:lnSpc>
        <a:spcBef>
          <a:spcPct val="0"/>
        </a:spcBef>
        <a:buNone/>
        <a:defRPr lang="ru-RU" sz="2398" b="1" kern="1200" dirty="0">
          <a:solidFill>
            <a:schemeClr val="bg1"/>
          </a:solidFill>
          <a:latin typeface="+mj-lt"/>
          <a:ea typeface="+mj-ea"/>
          <a:cs typeface="Arial" charset="0"/>
        </a:defRPr>
      </a:lvl1pPr>
    </p:titleStyle>
    <p:bodyStyle>
      <a:lvl1pPr marL="304518" indent="-304518" algn="l" defTabSz="1218072" rtl="0" eaLnBrk="1" latinLnBrk="0" hangingPunct="1">
        <a:lnSpc>
          <a:spcPct val="90000"/>
        </a:lnSpc>
        <a:spcBef>
          <a:spcPts val="1332"/>
        </a:spcBef>
        <a:buFont typeface="Arial"/>
        <a:buChar char="•"/>
        <a:defRPr sz="3730" kern="1200">
          <a:solidFill>
            <a:schemeClr val="tx1"/>
          </a:solidFill>
          <a:latin typeface="+mn-lt"/>
          <a:ea typeface="+mn-ea"/>
          <a:cs typeface="+mn-cs"/>
        </a:defRPr>
      </a:lvl1pPr>
      <a:lvl2pPr marL="913554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3197" kern="1200">
          <a:solidFill>
            <a:schemeClr val="tx1"/>
          </a:solidFill>
          <a:latin typeface="+mn-lt"/>
          <a:ea typeface="+mn-ea"/>
          <a:cs typeface="+mn-cs"/>
        </a:defRPr>
      </a:lvl2pPr>
      <a:lvl3pPr marL="1522590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3pPr>
      <a:lvl4pPr marL="2131626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740663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349699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958735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567771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5176807" indent="-304518" algn="l" defTabSz="1218072" rtl="0" eaLnBrk="1" latinLnBrk="0" hangingPunct="1">
        <a:lnSpc>
          <a:spcPct val="90000"/>
        </a:lnSpc>
        <a:spcBef>
          <a:spcPts val="666"/>
        </a:spcBef>
        <a:buFont typeface="Arial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9036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8072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7108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6144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5181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4217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3253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2289" algn="l" defTabSz="1218072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93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419">
          <p15:clr>
            <a:srgbClr val="F26B43"/>
          </p15:clr>
        </p15:guide>
        <p15:guide id="4" pos="5488">
          <p15:clr>
            <a:srgbClr val="F26B43"/>
          </p15:clr>
        </p15:guide>
        <p15:guide id="5" orient="horz" pos="624">
          <p15:clr>
            <a:srgbClr val="F26B43"/>
          </p15:clr>
        </p15:guide>
        <p15:guide id="6" pos="5284">
          <p15:clr>
            <a:srgbClr val="F26B43"/>
          </p15:clr>
        </p15:guide>
        <p15:guide id="7" pos="340">
          <p15:clr>
            <a:srgbClr val="F26B43"/>
          </p15:clr>
        </p15:guide>
        <p15:guide id="8" orient="horz" pos="305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933623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Слайд think-cell" r:id="rId17" imgW="270" imgH="270" progId="TCLayout.ActiveDocument.1">
                  <p:embed/>
                </p:oleObj>
              </mc:Choice>
              <mc:Fallback>
                <p:oleObj name="Слайд think-cell" r:id="rId17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13017" y="6448426"/>
            <a:ext cx="83608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FB774DA-D2CB-450F-9441-B77EDBE04A1A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8" y="1125538"/>
            <a:ext cx="11233149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24418" y="0"/>
            <a:ext cx="1017693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4351" y="106363"/>
            <a:ext cx="1183216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86563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2" r:id="rId1"/>
    <p:sldLayoutId id="2147484373" r:id="rId2"/>
    <p:sldLayoutId id="2147484374" r:id="rId3"/>
    <p:sldLayoutId id="2147484375" r:id="rId4"/>
    <p:sldLayoutId id="2147484376" r:id="rId5"/>
    <p:sldLayoutId id="2147484377" r:id="rId6"/>
    <p:sldLayoutId id="2147484378" r:id="rId7"/>
    <p:sldLayoutId id="2147484379" r:id="rId8"/>
    <p:sldLayoutId id="2147484380" r:id="rId9"/>
    <p:sldLayoutId id="2147484381" r:id="rId10"/>
    <p:sldLayoutId id="2147484382" r:id="rId11"/>
    <p:sldLayoutId id="2147484383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20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1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1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32908031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7" name="Слайд think-cell" r:id="rId17" imgW="270" imgH="270" progId="TCLayout.ActiveDocument.1">
                  <p:embed/>
                </p:oleObj>
              </mc:Choice>
              <mc:Fallback>
                <p:oleObj name="Слайд think-cell" r:id="rId17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013017" y="6448426"/>
            <a:ext cx="83608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FB774DA-D2CB-450F-9441-B77EDBE04A1A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24418" y="1125538"/>
            <a:ext cx="11233149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624418" y="0"/>
            <a:ext cx="10176933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4351" y="106363"/>
            <a:ext cx="1183216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7411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5" r:id="rId1"/>
    <p:sldLayoutId id="2147484386" r:id="rId2"/>
    <p:sldLayoutId id="2147484387" r:id="rId3"/>
    <p:sldLayoutId id="2147484388" r:id="rId4"/>
    <p:sldLayoutId id="2147484389" r:id="rId5"/>
    <p:sldLayoutId id="2147484390" r:id="rId6"/>
    <p:sldLayoutId id="2147484391" r:id="rId7"/>
    <p:sldLayoutId id="2147484392" r:id="rId8"/>
    <p:sldLayoutId id="2147484393" r:id="rId9"/>
    <p:sldLayoutId id="2147484394" r:id="rId10"/>
    <p:sldLayoutId id="2147484395" r:id="rId11"/>
    <p:sldLayoutId id="2147484396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20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1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21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Слайд think-cell" r:id="rId6" imgW="306" imgH="306" progId="TCLayout.ActiveDocument.1">
                  <p:embed/>
                </p:oleObj>
              </mc:Choice>
              <mc:Fallback>
                <p:oleObj name="Слайд think-cell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34188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8" r:id="rId1"/>
    <p:sldLayoutId id="2147484399" r:id="rId2"/>
  </p:sldLayoutIdLst>
  <p:hf sldNum="0" hdr="0"/>
  <p:txStyles>
    <p:titleStyle>
      <a:lvl1pPr algn="l" defTabSz="913603" rtl="0" eaLnBrk="1" latinLnBrk="0" hangingPunct="1">
        <a:lnSpc>
          <a:spcPct val="90000"/>
        </a:lnSpc>
        <a:spcBef>
          <a:spcPct val="0"/>
        </a:spcBef>
        <a:buNone/>
        <a:defRPr sz="439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02" indent="-228402" algn="l" defTabSz="9136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7" kern="1200">
          <a:solidFill>
            <a:schemeClr val="tx1"/>
          </a:solidFill>
          <a:latin typeface="+mn-lt"/>
          <a:ea typeface="+mn-ea"/>
          <a:cs typeface="+mn-cs"/>
        </a:defRPr>
      </a:lvl1pPr>
      <a:lvl2pPr marL="685203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142004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3pPr>
      <a:lvl4pPr marL="1598805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5607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2408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69209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011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2812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801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603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404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205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008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0810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7611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4412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408">
          <p15:clr>
            <a:srgbClr val="F26B43"/>
          </p15:clr>
        </p15:guide>
        <p15:guide id="4" pos="3783">
          <p15:clr>
            <a:srgbClr val="F26B43"/>
          </p15:clr>
        </p15:guide>
        <p15:guide id="5" pos="3896">
          <p15:clr>
            <a:srgbClr val="F26B43"/>
          </p15:clr>
        </p15:guide>
        <p15:guide id="6" pos="7271">
          <p15:clr>
            <a:srgbClr val="F26B43"/>
          </p15:clr>
        </p15:guide>
        <p15:guide id="7" orient="horz">
          <p15:clr>
            <a:srgbClr val="F26B43"/>
          </p15:clr>
        </p15:guide>
        <p15:guide id="8" orient="horz" pos="4320">
          <p15:clr>
            <a:srgbClr val="F26B43"/>
          </p15:clr>
        </p15:guide>
        <p15:guide id="9" orient="horz" pos="249">
          <p15:clr>
            <a:srgbClr val="F26B43"/>
          </p15:clr>
        </p15:guide>
        <p15:guide id="10" orient="horz" pos="2114">
          <p15:clr>
            <a:srgbClr val="F26B43"/>
          </p15:clr>
        </p15:guide>
        <p15:guide id="11" orient="horz" pos="2228">
          <p15:clr>
            <a:srgbClr val="F26B43"/>
          </p15:clr>
        </p15:guide>
        <p15:guide id="12" orient="horz" pos="409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Слайд think-cell" r:id="rId6" imgW="306" imgH="306" progId="TCLayout.ActiveDocument.1">
                  <p:embed/>
                </p:oleObj>
              </mc:Choice>
              <mc:Fallback>
                <p:oleObj name="Слайд think-cell" r:id="rId6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14377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1" r:id="rId1"/>
    <p:sldLayoutId id="2147484402" r:id="rId2"/>
  </p:sldLayoutIdLst>
  <p:hf sldNum="0" hdr="0"/>
  <p:txStyles>
    <p:titleStyle>
      <a:lvl1pPr algn="l" defTabSz="913603" rtl="0" eaLnBrk="1" latinLnBrk="0" hangingPunct="1">
        <a:lnSpc>
          <a:spcPct val="90000"/>
        </a:lnSpc>
        <a:spcBef>
          <a:spcPct val="0"/>
        </a:spcBef>
        <a:buNone/>
        <a:defRPr sz="439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402" indent="-228402" algn="l" defTabSz="913603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797" kern="1200">
          <a:solidFill>
            <a:schemeClr val="tx1"/>
          </a:solidFill>
          <a:latin typeface="+mn-lt"/>
          <a:ea typeface="+mn-ea"/>
          <a:cs typeface="+mn-cs"/>
        </a:defRPr>
      </a:lvl1pPr>
      <a:lvl2pPr marL="685203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142004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998" kern="1200">
          <a:solidFill>
            <a:schemeClr val="tx1"/>
          </a:solidFill>
          <a:latin typeface="+mn-lt"/>
          <a:ea typeface="+mn-ea"/>
          <a:cs typeface="+mn-cs"/>
        </a:defRPr>
      </a:lvl3pPr>
      <a:lvl4pPr marL="1598805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2055607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512408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969209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426011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882812" indent="-228402" algn="l" defTabSz="913603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1pPr>
      <a:lvl2pPr marL="456801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2pPr>
      <a:lvl3pPr marL="913603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3pPr>
      <a:lvl4pPr marL="1370404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4pPr>
      <a:lvl5pPr marL="1827205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5pPr>
      <a:lvl6pPr marL="2284008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6pPr>
      <a:lvl7pPr marL="2740810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7pPr>
      <a:lvl8pPr marL="3197611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8pPr>
      <a:lvl9pPr marL="3654412" algn="l" defTabSz="913603" rtl="0" eaLnBrk="1" latinLnBrk="0" hangingPunct="1">
        <a:defRPr sz="17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>
          <p15:clr>
            <a:srgbClr val="F26B43"/>
          </p15:clr>
        </p15:guide>
        <p15:guide id="2" pos="7680">
          <p15:clr>
            <a:srgbClr val="F26B43"/>
          </p15:clr>
        </p15:guide>
        <p15:guide id="3" pos="408">
          <p15:clr>
            <a:srgbClr val="F26B43"/>
          </p15:clr>
        </p15:guide>
        <p15:guide id="4" pos="3783">
          <p15:clr>
            <a:srgbClr val="F26B43"/>
          </p15:clr>
        </p15:guide>
        <p15:guide id="5" pos="3896">
          <p15:clr>
            <a:srgbClr val="F26B43"/>
          </p15:clr>
        </p15:guide>
        <p15:guide id="6" pos="7271">
          <p15:clr>
            <a:srgbClr val="F26B43"/>
          </p15:clr>
        </p15:guide>
        <p15:guide id="7" orient="horz">
          <p15:clr>
            <a:srgbClr val="F26B43"/>
          </p15:clr>
        </p15:guide>
        <p15:guide id="8" orient="horz" pos="4320">
          <p15:clr>
            <a:srgbClr val="F26B43"/>
          </p15:clr>
        </p15:guide>
        <p15:guide id="9" orient="horz" pos="249">
          <p15:clr>
            <a:srgbClr val="F26B43"/>
          </p15:clr>
        </p15:guide>
        <p15:guide id="10" orient="horz" pos="2114">
          <p15:clr>
            <a:srgbClr val="F26B43"/>
          </p15:clr>
        </p15:guide>
        <p15:guide id="11" orient="horz" pos="2228">
          <p15:clr>
            <a:srgbClr val="F26B43"/>
          </p15:clr>
        </p15:guide>
        <p15:guide id="12" orient="horz" pos="409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6.png"/><Relationship Id="rId4" Type="http://schemas.openxmlformats.org/officeDocument/2006/relationships/image" Target="../media/image45.jpe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0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5" Type="http://schemas.microsoft.com/office/2007/relationships/hdphoto" Target="../media/hdphoto2.wdp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9.svg"/><Relationship Id="rId3" Type="http://schemas.microsoft.com/office/2007/relationships/hdphoto" Target="../media/hdphoto4.wdp"/><Relationship Id="rId7" Type="http://schemas.openxmlformats.org/officeDocument/2006/relationships/image" Target="../media/image43.svg"/><Relationship Id="rId12" Type="http://schemas.openxmlformats.org/officeDocument/2006/relationships/image" Target="../media/image41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8.png"/><Relationship Id="rId11" Type="http://schemas.openxmlformats.org/officeDocument/2006/relationships/image" Target="../media/image47.svg"/><Relationship Id="rId5" Type="http://schemas.openxmlformats.org/officeDocument/2006/relationships/image" Target="../media/image41.svg"/><Relationship Id="rId10" Type="http://schemas.openxmlformats.org/officeDocument/2006/relationships/image" Target="../media/image40.png"/><Relationship Id="rId4" Type="http://schemas.openxmlformats.org/officeDocument/2006/relationships/image" Target="../media/image37.png"/><Relationship Id="rId9" Type="http://schemas.openxmlformats.org/officeDocument/2006/relationships/image" Target="../media/image45.svg"/><Relationship Id="rId14" Type="http://schemas.openxmlformats.org/officeDocument/2006/relationships/image" Target="../media/image4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9">
            <a:extLst>
              <a:ext uri="{FF2B5EF4-FFF2-40B4-BE49-F238E27FC236}">
                <a16:creationId xmlns:a16="http://schemas.microsoft.com/office/drawing/2014/main" id="{98580430-77B7-4746-828D-F7D8A142096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0575" y="1934372"/>
            <a:ext cx="11093406" cy="1900051"/>
          </a:xfrm>
        </p:spPr>
        <p:txBody>
          <a:bodyPr anchor="t"/>
          <a:lstStyle/>
          <a:p>
            <a:pPr algn="ctr">
              <a:lnSpc>
                <a:spcPct val="130000"/>
              </a:lnSpc>
              <a:spcBef>
                <a:spcPct val="0"/>
              </a:spcBef>
            </a:pPr>
            <a:r>
              <a:rPr lang="ru-RU" dirty="0">
                <a:solidFill>
                  <a:schemeClr val="tx2">
                    <a:lumMod val="75000"/>
                  </a:schemeClr>
                </a:solidFill>
              </a:rPr>
              <a:t>Утилизация золошлаковых отходов </a:t>
            </a:r>
            <a:r>
              <a:rPr lang="ru-RU" dirty="0" smtClean="0">
                <a:solidFill>
                  <a:schemeClr val="tx2">
                    <a:lumMod val="75000"/>
                  </a:schemeClr>
                </a:solidFill>
              </a:rPr>
              <a:t>угольных ТЭС</a:t>
            </a:r>
            <a:endParaRPr lang="ru-RU" sz="4000" kern="1200" dirty="0">
              <a:solidFill>
                <a:schemeClr val="accent6">
                  <a:lumMod val="50000"/>
                </a:schemeClr>
              </a:solidFill>
              <a:latin typeface="+mj-lt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436584"/>
              </p:ext>
            </p:extLst>
          </p:nvPr>
        </p:nvGraphicFramePr>
        <p:xfrm>
          <a:off x="665038" y="4727967"/>
          <a:ext cx="5985117" cy="1379513"/>
        </p:xfrm>
        <a:graphic>
          <a:graphicData uri="http://schemas.openxmlformats.org/drawingml/2006/table">
            <a:tbl>
              <a:tblPr/>
              <a:tblGrid>
                <a:gridCol w="59851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379513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О </a:t>
                      </a:r>
                      <a:r>
                        <a:rPr lang="ru-RU" sz="1400" b="1" i="0" u="none" strike="noStrike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«Русатом инфраструктурные решения»</a:t>
                      </a:r>
                    </a:p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К «Росатом»</a:t>
                      </a:r>
                    </a:p>
                  </a:txBody>
                  <a:tcPr marL="9526" marR="9526" marT="95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09CD9C6A-0378-69F4-E6AF-3BC38A815A71}"/>
              </a:ext>
            </a:extLst>
          </p:cNvPr>
          <p:cNvSpPr txBox="1"/>
          <p:nvPr/>
        </p:nvSpPr>
        <p:spPr>
          <a:xfrm flipH="1">
            <a:off x="620512" y="5955775"/>
            <a:ext cx="19014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 smtClean="0"/>
              <a:t>2023г</a:t>
            </a:r>
            <a:r>
              <a:rPr lang="ru-RU" sz="1400" b="1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0289429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D1F672-EC19-7546-0C44-32FCEC1491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ализованные проекты применения ЗШМ в России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211B39-C632-A680-223A-56BDDFD8B995}"/>
              </a:ext>
            </a:extLst>
          </p:cNvPr>
          <p:cNvSpPr txBox="1"/>
          <p:nvPr/>
        </p:nvSpPr>
        <p:spPr>
          <a:xfrm>
            <a:off x="2101376" y="1494443"/>
            <a:ext cx="3883114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47598F"/>
                </a:solidFill>
              </a:rPr>
              <a:t>ПРОМЫШЛЕННОЕ И ГРАЖДАНСКОЕ </a:t>
            </a:r>
          </a:p>
          <a:p>
            <a:r>
              <a:rPr lang="ru-RU" sz="1200" b="1" dirty="0" smtClean="0">
                <a:solidFill>
                  <a:srgbClr val="47598F"/>
                </a:solidFill>
              </a:rPr>
              <a:t>СТРОИТЕЛЬСТВО</a:t>
            </a:r>
            <a:endParaRPr lang="ru-RU" sz="1200" b="1" dirty="0">
              <a:solidFill>
                <a:srgbClr val="47598F"/>
              </a:solidFill>
            </a:endParaRPr>
          </a:p>
          <a:p>
            <a:r>
              <a:rPr lang="ru-RU" sz="1200" b="1" dirty="0" smtClean="0"/>
              <a:t>г. Северск, Томская </a:t>
            </a:r>
            <a:r>
              <a:rPr lang="ru-RU" sz="1200" b="1" dirty="0"/>
              <a:t>область</a:t>
            </a:r>
          </a:p>
          <a:p>
            <a:r>
              <a:rPr lang="ru-RU" sz="1200" b="1" dirty="0" smtClean="0"/>
              <a:t>Результаты:</a:t>
            </a:r>
          </a:p>
          <a:p>
            <a:r>
              <a:rPr lang="ru-RU" sz="1200" dirty="0" smtClean="0"/>
              <a:t>15 </a:t>
            </a:r>
            <a:r>
              <a:rPr lang="ru-RU" sz="1200" dirty="0"/>
              <a:t>% жилого фонда г</a:t>
            </a:r>
            <a:r>
              <a:rPr lang="ru-RU" sz="1200" dirty="0" smtClean="0"/>
              <a:t>. Северска </a:t>
            </a:r>
            <a:r>
              <a:rPr lang="ru-RU" sz="1200" dirty="0"/>
              <a:t>построено </a:t>
            </a:r>
          </a:p>
          <a:p>
            <a:r>
              <a:rPr lang="ru-RU" sz="1200" dirty="0"/>
              <a:t>с использовано с применением шлакоблочного </a:t>
            </a:r>
          </a:p>
          <a:p>
            <a:r>
              <a:rPr lang="ru-RU" sz="1200" dirty="0"/>
              <a:t>Камня, изготовленного из ЗШО Северской ТЭЦ. </a:t>
            </a:r>
          </a:p>
          <a:p>
            <a:r>
              <a:rPr lang="ru-RU" sz="1200" dirty="0"/>
              <a:t>Здания эксплуатируются с 1952г.</a:t>
            </a:r>
          </a:p>
          <a:p>
            <a:endParaRPr lang="ru-RU" sz="1200" b="1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2A1A3E2-06D3-22B7-5317-BDCA80746718}"/>
              </a:ext>
            </a:extLst>
          </p:cNvPr>
          <p:cNvSpPr txBox="1"/>
          <p:nvPr/>
        </p:nvSpPr>
        <p:spPr>
          <a:xfrm>
            <a:off x="7519262" y="1497837"/>
            <a:ext cx="434832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47598F"/>
                </a:solidFill>
              </a:rPr>
              <a:t>ПЛАНИРОВКА ОСНОВАНИЯ В ПРОМЫШЛЕННОМ СТРОИТЕЛЬСТВЕ</a:t>
            </a:r>
            <a:endParaRPr lang="ru-RU" sz="1200" b="1" dirty="0">
              <a:solidFill>
                <a:srgbClr val="47598F"/>
              </a:solidFill>
            </a:endParaRPr>
          </a:p>
          <a:p>
            <a:r>
              <a:rPr lang="ru-RU" sz="1200" b="1" dirty="0" smtClean="0"/>
              <a:t>Томская область</a:t>
            </a:r>
            <a:endParaRPr lang="ru-RU" sz="1200" b="1" dirty="0"/>
          </a:p>
          <a:p>
            <a:r>
              <a:rPr lang="ru-RU" sz="1200" dirty="0" smtClean="0"/>
              <a:t>Завод «Мономер» ООО «</a:t>
            </a:r>
            <a:r>
              <a:rPr lang="ru-RU" sz="1200" dirty="0" err="1" smtClean="0"/>
              <a:t>Томскнефтехим</a:t>
            </a:r>
            <a:r>
              <a:rPr lang="ru-RU" sz="1200" dirty="0" smtClean="0"/>
              <a:t>» </a:t>
            </a:r>
          </a:p>
          <a:p>
            <a:r>
              <a:rPr lang="ru-RU" sz="1200" b="1" dirty="0" smtClean="0"/>
              <a:t>Результаты</a:t>
            </a:r>
            <a:r>
              <a:rPr lang="ru-RU" sz="1200" b="1" dirty="0"/>
              <a:t>:</a:t>
            </a:r>
          </a:p>
          <a:p>
            <a:r>
              <a:rPr lang="ru-RU" sz="1200" dirty="0" smtClean="0"/>
              <a:t>ЗШО использовались при вертикальной планировке при строительстве промышленной установке ЭП-300 с целью недопущения морозного пучения грунта</a:t>
            </a:r>
            <a:endParaRPr lang="ru-RU" sz="12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265BF83-9FE5-A1E5-869C-A3353E6917B7}"/>
              </a:ext>
            </a:extLst>
          </p:cNvPr>
          <p:cNvSpPr txBox="1"/>
          <p:nvPr/>
        </p:nvSpPr>
        <p:spPr>
          <a:xfrm>
            <a:off x="2055222" y="3637224"/>
            <a:ext cx="3875869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>
                <a:solidFill>
                  <a:srgbClr val="47598F"/>
                </a:solidFill>
              </a:rPr>
              <a:t>ВЕРТИКАЛЬНАЯ ПЛАНИРОВКА </a:t>
            </a:r>
          </a:p>
          <a:p>
            <a:r>
              <a:rPr lang="ru-RU" sz="1200" b="1" dirty="0">
                <a:solidFill>
                  <a:srgbClr val="47598F"/>
                </a:solidFill>
              </a:rPr>
              <a:t>ПРИ </a:t>
            </a:r>
            <a:r>
              <a:rPr lang="ru-RU" sz="1200" b="1" dirty="0" smtClean="0">
                <a:solidFill>
                  <a:srgbClr val="47598F"/>
                </a:solidFill>
              </a:rPr>
              <a:t>СТРОИТЕЛЬСТВЕ ТЦ</a:t>
            </a:r>
            <a:endParaRPr lang="ru-RU" sz="1200" b="1" dirty="0">
              <a:solidFill>
                <a:srgbClr val="47598F"/>
              </a:solidFill>
            </a:endParaRPr>
          </a:p>
          <a:p>
            <a:r>
              <a:rPr lang="ru-RU" sz="1200" b="1" dirty="0" smtClean="0"/>
              <a:t>г. Томск, Томская область</a:t>
            </a:r>
            <a:endParaRPr lang="ru-RU" sz="1200" b="1" dirty="0"/>
          </a:p>
          <a:p>
            <a:r>
              <a:rPr lang="ru-RU" sz="1200" dirty="0" smtClean="0"/>
              <a:t>Торговый комплекс на пересечении </a:t>
            </a:r>
          </a:p>
          <a:p>
            <a:r>
              <a:rPr lang="ru-RU" sz="1200" dirty="0" smtClean="0"/>
              <a:t>ул. Красноармейская и пр. Фрунзе</a:t>
            </a:r>
            <a:endParaRPr lang="ru-RU" sz="1200" dirty="0"/>
          </a:p>
          <a:p>
            <a:r>
              <a:rPr lang="ru-RU" sz="1200" b="1" dirty="0"/>
              <a:t>Результаты:</a:t>
            </a:r>
          </a:p>
          <a:p>
            <a:r>
              <a:rPr lang="ru-RU" sz="1200" dirty="0" smtClean="0"/>
              <a:t>ЗШО Томской ГРЭС-2  </a:t>
            </a:r>
            <a:r>
              <a:rPr lang="ru-RU" sz="1200" dirty="0"/>
              <a:t>отгружены на устройство </a:t>
            </a:r>
            <a:endParaRPr lang="ru-RU" sz="1200" dirty="0" smtClean="0"/>
          </a:p>
          <a:p>
            <a:r>
              <a:rPr lang="ru-RU" sz="1200" dirty="0" smtClean="0"/>
              <a:t>вертикальной планировки </a:t>
            </a:r>
            <a:r>
              <a:rPr lang="ru-RU" sz="1200" dirty="0"/>
              <a:t>при строительстве </a:t>
            </a:r>
            <a:endParaRPr lang="ru-RU" sz="1200" dirty="0" smtClean="0"/>
          </a:p>
          <a:p>
            <a:r>
              <a:rPr lang="ru-RU" sz="1200" dirty="0" smtClean="0"/>
              <a:t>Торгового центра</a:t>
            </a:r>
            <a:endParaRPr lang="ru-RU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B095B8C-AB25-802A-1CBE-0DB5F075AD8B}"/>
              </a:ext>
            </a:extLst>
          </p:cNvPr>
          <p:cNvSpPr txBox="1"/>
          <p:nvPr/>
        </p:nvSpPr>
        <p:spPr>
          <a:xfrm>
            <a:off x="7629977" y="3637224"/>
            <a:ext cx="4306307" cy="193899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rgbClr val="47598F"/>
                </a:solidFill>
              </a:rPr>
              <a:t>ИЗДЕЛИЯ ЖЕЛЕЗОБЕТОННЫЕ</a:t>
            </a:r>
            <a:endParaRPr lang="ru-RU" sz="1200" b="1" dirty="0">
              <a:solidFill>
                <a:srgbClr val="47598F"/>
              </a:solidFill>
            </a:endParaRPr>
          </a:p>
          <a:p>
            <a:r>
              <a:rPr lang="ru-RU" sz="1200" b="1" dirty="0" smtClean="0"/>
              <a:t>Томская область</a:t>
            </a:r>
            <a:endParaRPr lang="ru-RU" sz="1200" b="1" dirty="0"/>
          </a:p>
          <a:p>
            <a:r>
              <a:rPr lang="ru-RU" sz="1200" dirty="0" smtClean="0"/>
              <a:t>ЗАО «ЗКПД ТДСК»</a:t>
            </a:r>
            <a:endParaRPr lang="ru-RU" sz="1200" dirty="0"/>
          </a:p>
          <a:p>
            <a:r>
              <a:rPr lang="ru-RU" sz="1200" b="1" dirty="0"/>
              <a:t>Результаты:</a:t>
            </a:r>
          </a:p>
          <a:p>
            <a:r>
              <a:rPr lang="ru-RU" sz="1200" dirty="0" smtClean="0"/>
              <a:t>С применением минеральной добавки, выделенной </a:t>
            </a:r>
          </a:p>
          <a:p>
            <a:r>
              <a:rPr lang="ru-RU" sz="1200" dirty="0" smtClean="0"/>
              <a:t>из ЗШО Северской ТЭЦ, произведены Плиты </a:t>
            </a:r>
          </a:p>
          <a:p>
            <a:r>
              <a:rPr lang="ru-RU" sz="1200" dirty="0" smtClean="0"/>
              <a:t>дорожные 2ПДН-14 и Блоки фундаментов ФБС24.6.6Т.</a:t>
            </a:r>
          </a:p>
          <a:p>
            <a:r>
              <a:rPr lang="ru-RU" sz="1200" dirty="0" smtClean="0"/>
              <a:t>Изделия выполнены согласно требованиям </a:t>
            </a:r>
          </a:p>
          <a:p>
            <a:r>
              <a:rPr lang="ru-RU" sz="1200" dirty="0" smtClean="0"/>
              <a:t>действующих нормативов, прошли испытания и </a:t>
            </a:r>
          </a:p>
          <a:p>
            <a:r>
              <a:rPr lang="ru-RU" sz="1200" dirty="0" smtClean="0"/>
              <a:t>получили паспорта качества.</a:t>
            </a:r>
            <a:endParaRPr lang="ru-RU" sz="12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469" r="22477" b="3964"/>
          <a:stretch/>
        </p:blipFill>
        <p:spPr>
          <a:xfrm>
            <a:off x="687977" y="1371668"/>
            <a:ext cx="1227908" cy="1988574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00" t="1422" r="46685" b="-1422"/>
          <a:stretch/>
        </p:blipFill>
        <p:spPr>
          <a:xfrm>
            <a:off x="6169982" y="1371669"/>
            <a:ext cx="1287262" cy="1988574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97" r="9351"/>
          <a:stretch/>
        </p:blipFill>
        <p:spPr>
          <a:xfrm>
            <a:off x="672945" y="3577704"/>
            <a:ext cx="1243913" cy="1957596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68" r="29996"/>
          <a:stretch/>
        </p:blipFill>
        <p:spPr>
          <a:xfrm>
            <a:off x="6191528" y="3637224"/>
            <a:ext cx="1265716" cy="1898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9426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>
            <a:extLst>
              <a:ext uri="{FF2B5EF4-FFF2-40B4-BE49-F238E27FC236}">
                <a16:creationId xmlns:a16="http://schemas.microsoft.com/office/drawing/2014/main" id="{10863379-11E2-538B-D8C1-2D97F12B08F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91692" y="4703226"/>
            <a:ext cx="5443347" cy="1575654"/>
          </a:xfrm>
        </p:spPr>
        <p:txBody>
          <a:bodyPr/>
          <a:lstStyle/>
          <a:p>
            <a:r>
              <a:rPr lang="ru-RU" dirty="0" smtClean="0"/>
              <a:t>Дудкин Александр Анатольевич</a:t>
            </a:r>
          </a:p>
          <a:p>
            <a:r>
              <a:rPr lang="ru-RU" dirty="0" smtClean="0"/>
              <a:t>Руководитель Группы новых продуктов и технологий</a:t>
            </a:r>
          </a:p>
          <a:p>
            <a:r>
              <a:rPr lang="ru-RU" dirty="0" smtClean="0"/>
              <a:t>Филиал АО «РИР» в г. Северске</a:t>
            </a:r>
            <a:endParaRPr lang="ru-RU" dirty="0"/>
          </a:p>
          <a:p>
            <a:r>
              <a:rPr lang="ru-RU" dirty="0"/>
              <a:t>РФ, Томская область, г. Северск, ул</a:t>
            </a:r>
            <a:r>
              <a:rPr lang="ru-RU" dirty="0" smtClean="0"/>
              <a:t>. Автодорога</a:t>
            </a:r>
            <a:r>
              <a:rPr lang="ru-RU" dirty="0"/>
              <a:t>, 14/11</a:t>
            </a:r>
          </a:p>
          <a:p>
            <a:r>
              <a:rPr lang="ru-RU" dirty="0"/>
              <a:t>+</a:t>
            </a:r>
            <a:r>
              <a:rPr lang="ru-RU" dirty="0" smtClean="0"/>
              <a:t>7(3822)59-19-19, </a:t>
            </a:r>
            <a:endParaRPr lang="en-US" dirty="0" smtClean="0"/>
          </a:p>
          <a:p>
            <a:r>
              <a:rPr lang="en-US" dirty="0" smtClean="0"/>
              <a:t>AlADudkin@rosatom.ru</a:t>
            </a:r>
            <a:endParaRPr lang="ru-RU" dirty="0"/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8E670489-ABCE-8CB1-91BF-6440768341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9616" y="1810877"/>
            <a:ext cx="9670872" cy="836530"/>
          </a:xfrm>
        </p:spPr>
        <p:txBody>
          <a:bodyPr/>
          <a:lstStyle/>
          <a:p>
            <a:r>
              <a:rPr lang="ru-RU" dirty="0"/>
              <a:t>Спасибо за внимание!</a:t>
            </a:r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04839D84-C08F-C5BA-7F89-6E778A3D95B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80906" y="3111264"/>
            <a:ext cx="7018808" cy="1259951"/>
          </a:xfrm>
        </p:spPr>
        <p:txBody>
          <a:bodyPr/>
          <a:lstStyle/>
          <a:p>
            <a:pPr marL="0" marR="0" indent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ru-RU" sz="1800" b="1" i="0" u="none" strike="noStrike" kern="1200" dirty="0" smtClean="0">
                <a:solidFill>
                  <a:srgbClr val="1D243B"/>
                </a:solidFill>
                <a:effectLst/>
                <a:latin typeface="Golos Text" panose="020B0604020202020204" charset="-52"/>
              </a:rPr>
              <a:t>АО </a:t>
            </a:r>
            <a:r>
              <a:rPr lang="ru-RU" sz="1800" b="1" i="0" u="none" strike="noStrike" kern="1200" dirty="0">
                <a:solidFill>
                  <a:srgbClr val="1D243B"/>
                </a:solidFill>
                <a:effectLst/>
                <a:latin typeface="Golos Text" panose="020B0604020202020204" charset="-52"/>
              </a:rPr>
              <a:t>«Русатом инфраструктурные решения»</a:t>
            </a:r>
            <a:endParaRPr lang="ru-RU" sz="2400" b="0" i="0" u="none" strike="noStrike" dirty="0">
              <a:effectLst/>
              <a:latin typeface="Arial" panose="020B0604020202020204" pitchFamily="34" charset="0"/>
            </a:endParaRPr>
          </a:p>
          <a:p>
            <a:pPr marL="0" marR="0" indent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ru-RU" sz="1800" b="1" i="0" u="none" strike="noStrike" kern="1200" dirty="0">
                <a:solidFill>
                  <a:srgbClr val="1D243B"/>
                </a:solidFill>
                <a:effectLst/>
                <a:latin typeface="Golos Text" panose="020B0604020202020204" charset="-52"/>
              </a:rPr>
              <a:t>ГК «Росатом»</a:t>
            </a:r>
            <a:endParaRPr lang="ru-RU" sz="2400" b="0" i="0" u="none" strike="noStrike" dirty="0">
              <a:effectLst/>
              <a:latin typeface="Arial" panose="020B0604020202020204" pitchFamily="34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2811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53D204-8691-BB9C-D47C-2885487B13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0673" y="397221"/>
            <a:ext cx="8634187" cy="707072"/>
          </a:xfrm>
        </p:spPr>
        <p:txBody>
          <a:bodyPr/>
          <a:lstStyle/>
          <a:p>
            <a:r>
              <a:rPr lang="ru-RU" dirty="0"/>
              <a:t>Описание ситуации с ЗШО в РФ</a:t>
            </a:r>
          </a:p>
        </p:txBody>
      </p:sp>
      <p:grpSp>
        <p:nvGrpSpPr>
          <p:cNvPr id="3" name="Group 4">
            <a:extLst>
              <a:ext uri="{FF2B5EF4-FFF2-40B4-BE49-F238E27FC236}">
                <a16:creationId xmlns:a16="http://schemas.microsoft.com/office/drawing/2014/main" id="{AA78FB42-0910-6331-A3ED-DC866C8C5FBE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022683" y="1352832"/>
            <a:ext cx="8085385" cy="4525454"/>
            <a:chOff x="4" y="10"/>
            <a:chExt cx="5753" cy="3220"/>
          </a:xfrm>
          <a:solidFill>
            <a:srgbClr val="7F7F7F">
              <a:lumMod val="20000"/>
              <a:lumOff val="80000"/>
            </a:srgbClr>
          </a:solidFill>
        </p:grpSpPr>
        <p:sp>
          <p:nvSpPr>
            <p:cNvPr id="4" name="Freeform 5">
              <a:extLst>
                <a:ext uri="{FF2B5EF4-FFF2-40B4-BE49-F238E27FC236}">
                  <a16:creationId xmlns:a16="http://schemas.microsoft.com/office/drawing/2014/main" id="{0B69CC95-9A2E-01C0-192F-83B926B0AF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26" y="1648"/>
              <a:ext cx="874" cy="722"/>
            </a:xfrm>
            <a:custGeom>
              <a:avLst/>
              <a:gdLst>
                <a:gd name="T0" fmla="*/ 85 w 655"/>
                <a:gd name="T1" fmla="*/ 152 h 541"/>
                <a:gd name="T2" fmla="*/ 81 w 655"/>
                <a:gd name="T3" fmla="*/ 126 h 541"/>
                <a:gd name="T4" fmla="*/ 98 w 655"/>
                <a:gd name="T5" fmla="*/ 78 h 541"/>
                <a:gd name="T6" fmla="*/ 128 w 655"/>
                <a:gd name="T7" fmla="*/ 53 h 541"/>
                <a:gd name="T8" fmla="*/ 153 w 655"/>
                <a:gd name="T9" fmla="*/ 52 h 541"/>
                <a:gd name="T10" fmla="*/ 170 w 655"/>
                <a:gd name="T11" fmla="*/ 37 h 541"/>
                <a:gd name="T12" fmla="*/ 178 w 655"/>
                <a:gd name="T13" fmla="*/ 9 h 541"/>
                <a:gd name="T14" fmla="*/ 198 w 655"/>
                <a:gd name="T15" fmla="*/ 15 h 541"/>
                <a:gd name="T16" fmla="*/ 226 w 655"/>
                <a:gd name="T17" fmla="*/ 20 h 541"/>
                <a:gd name="T18" fmla="*/ 256 w 655"/>
                <a:gd name="T19" fmla="*/ 32 h 541"/>
                <a:gd name="T20" fmla="*/ 282 w 655"/>
                <a:gd name="T21" fmla="*/ 28 h 541"/>
                <a:gd name="T22" fmla="*/ 305 w 655"/>
                <a:gd name="T23" fmla="*/ 24 h 541"/>
                <a:gd name="T24" fmla="*/ 322 w 655"/>
                <a:gd name="T25" fmla="*/ 39 h 541"/>
                <a:gd name="T26" fmla="*/ 339 w 655"/>
                <a:gd name="T27" fmla="*/ 41 h 541"/>
                <a:gd name="T28" fmla="*/ 365 w 655"/>
                <a:gd name="T29" fmla="*/ 56 h 541"/>
                <a:gd name="T30" fmla="*/ 389 w 655"/>
                <a:gd name="T31" fmla="*/ 60 h 541"/>
                <a:gd name="T32" fmla="*/ 395 w 655"/>
                <a:gd name="T33" fmla="*/ 88 h 541"/>
                <a:gd name="T34" fmla="*/ 423 w 655"/>
                <a:gd name="T35" fmla="*/ 92 h 541"/>
                <a:gd name="T36" fmla="*/ 459 w 655"/>
                <a:gd name="T37" fmla="*/ 109 h 541"/>
                <a:gd name="T38" fmla="*/ 489 w 655"/>
                <a:gd name="T39" fmla="*/ 145 h 541"/>
                <a:gd name="T40" fmla="*/ 533 w 655"/>
                <a:gd name="T41" fmla="*/ 141 h 541"/>
                <a:gd name="T42" fmla="*/ 573 w 655"/>
                <a:gd name="T43" fmla="*/ 176 h 541"/>
                <a:gd name="T44" fmla="*/ 611 w 655"/>
                <a:gd name="T45" fmla="*/ 215 h 541"/>
                <a:gd name="T46" fmla="*/ 640 w 655"/>
                <a:gd name="T47" fmla="*/ 200 h 541"/>
                <a:gd name="T48" fmla="*/ 645 w 655"/>
                <a:gd name="T49" fmla="*/ 254 h 541"/>
                <a:gd name="T50" fmla="*/ 612 w 655"/>
                <a:gd name="T51" fmla="*/ 256 h 541"/>
                <a:gd name="T52" fmla="*/ 581 w 655"/>
                <a:gd name="T53" fmla="*/ 267 h 541"/>
                <a:gd name="T54" fmla="*/ 556 w 655"/>
                <a:gd name="T55" fmla="*/ 249 h 541"/>
                <a:gd name="T56" fmla="*/ 516 w 655"/>
                <a:gd name="T57" fmla="*/ 261 h 541"/>
                <a:gd name="T58" fmla="*/ 482 w 655"/>
                <a:gd name="T59" fmla="*/ 271 h 541"/>
                <a:gd name="T60" fmla="*/ 452 w 655"/>
                <a:gd name="T61" fmla="*/ 270 h 541"/>
                <a:gd name="T62" fmla="*/ 422 w 655"/>
                <a:gd name="T63" fmla="*/ 294 h 541"/>
                <a:gd name="T64" fmla="*/ 386 w 655"/>
                <a:gd name="T65" fmla="*/ 309 h 541"/>
                <a:gd name="T66" fmla="*/ 367 w 655"/>
                <a:gd name="T67" fmla="*/ 332 h 541"/>
                <a:gd name="T68" fmla="*/ 378 w 655"/>
                <a:gd name="T69" fmla="*/ 347 h 541"/>
                <a:gd name="T70" fmla="*/ 366 w 655"/>
                <a:gd name="T71" fmla="*/ 361 h 541"/>
                <a:gd name="T72" fmla="*/ 348 w 655"/>
                <a:gd name="T73" fmla="*/ 372 h 541"/>
                <a:gd name="T74" fmla="*/ 335 w 655"/>
                <a:gd name="T75" fmla="*/ 388 h 541"/>
                <a:gd name="T76" fmla="*/ 314 w 655"/>
                <a:gd name="T77" fmla="*/ 400 h 541"/>
                <a:gd name="T78" fmla="*/ 320 w 655"/>
                <a:gd name="T79" fmla="*/ 438 h 541"/>
                <a:gd name="T80" fmla="*/ 304 w 655"/>
                <a:gd name="T81" fmla="*/ 465 h 541"/>
                <a:gd name="T82" fmla="*/ 272 w 655"/>
                <a:gd name="T83" fmla="*/ 486 h 541"/>
                <a:gd name="T84" fmla="*/ 262 w 655"/>
                <a:gd name="T85" fmla="*/ 505 h 541"/>
                <a:gd name="T86" fmla="*/ 233 w 655"/>
                <a:gd name="T87" fmla="*/ 504 h 541"/>
                <a:gd name="T88" fmla="*/ 212 w 655"/>
                <a:gd name="T89" fmla="*/ 503 h 541"/>
                <a:gd name="T90" fmla="*/ 172 w 655"/>
                <a:gd name="T91" fmla="*/ 535 h 541"/>
                <a:gd name="T92" fmla="*/ 140 w 655"/>
                <a:gd name="T93" fmla="*/ 541 h 541"/>
                <a:gd name="T94" fmla="*/ 123 w 655"/>
                <a:gd name="T95" fmla="*/ 526 h 541"/>
                <a:gd name="T96" fmla="*/ 107 w 655"/>
                <a:gd name="T97" fmla="*/ 501 h 541"/>
                <a:gd name="T98" fmla="*/ 92 w 655"/>
                <a:gd name="T99" fmla="*/ 474 h 541"/>
                <a:gd name="T100" fmla="*/ 76 w 655"/>
                <a:gd name="T101" fmla="*/ 442 h 541"/>
                <a:gd name="T102" fmla="*/ 44 w 655"/>
                <a:gd name="T103" fmla="*/ 401 h 541"/>
                <a:gd name="T104" fmla="*/ 26 w 655"/>
                <a:gd name="T105" fmla="*/ 368 h 541"/>
                <a:gd name="T106" fmla="*/ 42 w 655"/>
                <a:gd name="T107" fmla="*/ 329 h 541"/>
                <a:gd name="T108" fmla="*/ 34 w 655"/>
                <a:gd name="T109" fmla="*/ 299 h 541"/>
                <a:gd name="T110" fmla="*/ 52 w 655"/>
                <a:gd name="T111" fmla="*/ 284 h 541"/>
                <a:gd name="T112" fmla="*/ 52 w 655"/>
                <a:gd name="T113" fmla="*/ 242 h 541"/>
                <a:gd name="T114" fmla="*/ 28 w 655"/>
                <a:gd name="T115" fmla="*/ 225 h 541"/>
                <a:gd name="T116" fmla="*/ 6 w 655"/>
                <a:gd name="T117" fmla="*/ 217 h 541"/>
                <a:gd name="T118" fmla="*/ 18 w 655"/>
                <a:gd name="T119" fmla="*/ 184 h 541"/>
                <a:gd name="T120" fmla="*/ 40 w 655"/>
                <a:gd name="T121" fmla="*/ 161 h 541"/>
                <a:gd name="T122" fmla="*/ 65 w 655"/>
                <a:gd name="T123" fmla="*/ 184 h 5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5" h="541">
                  <a:moveTo>
                    <a:pt x="78" y="180"/>
                  </a:moveTo>
                  <a:cubicBezTo>
                    <a:pt x="81" y="167"/>
                    <a:pt x="81" y="167"/>
                    <a:pt x="81" y="167"/>
                  </a:cubicBezTo>
                  <a:cubicBezTo>
                    <a:pt x="85" y="152"/>
                    <a:pt x="85" y="152"/>
                    <a:pt x="85" y="152"/>
                  </a:cubicBezTo>
                  <a:cubicBezTo>
                    <a:pt x="75" y="142"/>
                    <a:pt x="75" y="142"/>
                    <a:pt x="75" y="142"/>
                  </a:cubicBezTo>
                  <a:cubicBezTo>
                    <a:pt x="82" y="137"/>
                    <a:pt x="82" y="137"/>
                    <a:pt x="82" y="137"/>
                  </a:cubicBezTo>
                  <a:cubicBezTo>
                    <a:pt x="81" y="126"/>
                    <a:pt x="81" y="126"/>
                    <a:pt x="81" y="126"/>
                  </a:cubicBezTo>
                  <a:cubicBezTo>
                    <a:pt x="85" y="110"/>
                    <a:pt x="85" y="110"/>
                    <a:pt x="85" y="110"/>
                  </a:cubicBezTo>
                  <a:cubicBezTo>
                    <a:pt x="92" y="93"/>
                    <a:pt x="92" y="93"/>
                    <a:pt x="92" y="93"/>
                  </a:cubicBezTo>
                  <a:cubicBezTo>
                    <a:pt x="98" y="78"/>
                    <a:pt x="98" y="78"/>
                    <a:pt x="98" y="78"/>
                  </a:cubicBezTo>
                  <a:cubicBezTo>
                    <a:pt x="111" y="74"/>
                    <a:pt x="111" y="74"/>
                    <a:pt x="111" y="74"/>
                  </a:cubicBezTo>
                  <a:cubicBezTo>
                    <a:pt x="116" y="64"/>
                    <a:pt x="116" y="64"/>
                    <a:pt x="116" y="64"/>
                  </a:cubicBezTo>
                  <a:cubicBezTo>
                    <a:pt x="128" y="53"/>
                    <a:pt x="128" y="53"/>
                    <a:pt x="128" y="53"/>
                  </a:cubicBezTo>
                  <a:cubicBezTo>
                    <a:pt x="140" y="52"/>
                    <a:pt x="140" y="52"/>
                    <a:pt x="140" y="52"/>
                  </a:cubicBezTo>
                  <a:cubicBezTo>
                    <a:pt x="149" y="63"/>
                    <a:pt x="149" y="63"/>
                    <a:pt x="149" y="63"/>
                  </a:cubicBezTo>
                  <a:cubicBezTo>
                    <a:pt x="153" y="52"/>
                    <a:pt x="153" y="52"/>
                    <a:pt x="153" y="52"/>
                  </a:cubicBezTo>
                  <a:cubicBezTo>
                    <a:pt x="162" y="52"/>
                    <a:pt x="162" y="52"/>
                    <a:pt x="162" y="52"/>
                  </a:cubicBezTo>
                  <a:cubicBezTo>
                    <a:pt x="166" y="45"/>
                    <a:pt x="166" y="45"/>
                    <a:pt x="166" y="45"/>
                  </a:cubicBezTo>
                  <a:cubicBezTo>
                    <a:pt x="170" y="37"/>
                    <a:pt x="170" y="37"/>
                    <a:pt x="170" y="37"/>
                  </a:cubicBezTo>
                  <a:cubicBezTo>
                    <a:pt x="171" y="23"/>
                    <a:pt x="171" y="23"/>
                    <a:pt x="171" y="23"/>
                  </a:cubicBezTo>
                  <a:cubicBezTo>
                    <a:pt x="177" y="17"/>
                    <a:pt x="177" y="17"/>
                    <a:pt x="177" y="17"/>
                  </a:cubicBezTo>
                  <a:cubicBezTo>
                    <a:pt x="178" y="9"/>
                    <a:pt x="178" y="9"/>
                    <a:pt x="178" y="9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92" y="9"/>
                    <a:pt x="192" y="9"/>
                    <a:pt x="192" y="9"/>
                  </a:cubicBezTo>
                  <a:cubicBezTo>
                    <a:pt x="198" y="15"/>
                    <a:pt x="198" y="15"/>
                    <a:pt x="198" y="15"/>
                  </a:cubicBezTo>
                  <a:cubicBezTo>
                    <a:pt x="210" y="15"/>
                    <a:pt x="210" y="15"/>
                    <a:pt x="210" y="15"/>
                  </a:cubicBezTo>
                  <a:cubicBezTo>
                    <a:pt x="216" y="21"/>
                    <a:pt x="216" y="21"/>
                    <a:pt x="216" y="21"/>
                  </a:cubicBezTo>
                  <a:cubicBezTo>
                    <a:pt x="226" y="20"/>
                    <a:pt x="226" y="20"/>
                    <a:pt x="226" y="20"/>
                  </a:cubicBezTo>
                  <a:cubicBezTo>
                    <a:pt x="234" y="25"/>
                    <a:pt x="234" y="25"/>
                    <a:pt x="234" y="25"/>
                  </a:cubicBezTo>
                  <a:cubicBezTo>
                    <a:pt x="248" y="25"/>
                    <a:pt x="248" y="25"/>
                    <a:pt x="248" y="25"/>
                  </a:cubicBezTo>
                  <a:cubicBezTo>
                    <a:pt x="256" y="32"/>
                    <a:pt x="256" y="32"/>
                    <a:pt x="256" y="32"/>
                  </a:cubicBezTo>
                  <a:cubicBezTo>
                    <a:pt x="265" y="33"/>
                    <a:pt x="265" y="33"/>
                    <a:pt x="265" y="33"/>
                  </a:cubicBezTo>
                  <a:cubicBezTo>
                    <a:pt x="270" y="28"/>
                    <a:pt x="270" y="28"/>
                    <a:pt x="270" y="28"/>
                  </a:cubicBezTo>
                  <a:cubicBezTo>
                    <a:pt x="282" y="28"/>
                    <a:pt x="282" y="28"/>
                    <a:pt x="282" y="28"/>
                  </a:cubicBezTo>
                  <a:cubicBezTo>
                    <a:pt x="289" y="21"/>
                    <a:pt x="289" y="21"/>
                    <a:pt x="289" y="21"/>
                  </a:cubicBezTo>
                  <a:cubicBezTo>
                    <a:pt x="298" y="21"/>
                    <a:pt x="298" y="21"/>
                    <a:pt x="298" y="21"/>
                  </a:cubicBezTo>
                  <a:cubicBezTo>
                    <a:pt x="305" y="24"/>
                    <a:pt x="305" y="24"/>
                    <a:pt x="305" y="24"/>
                  </a:cubicBezTo>
                  <a:cubicBezTo>
                    <a:pt x="305" y="24"/>
                    <a:pt x="308" y="30"/>
                    <a:pt x="310" y="30"/>
                  </a:cubicBezTo>
                  <a:cubicBezTo>
                    <a:pt x="312" y="30"/>
                    <a:pt x="313" y="39"/>
                    <a:pt x="313" y="39"/>
                  </a:cubicBezTo>
                  <a:cubicBezTo>
                    <a:pt x="322" y="39"/>
                    <a:pt x="322" y="39"/>
                    <a:pt x="322" y="39"/>
                  </a:cubicBezTo>
                  <a:cubicBezTo>
                    <a:pt x="329" y="47"/>
                    <a:pt x="329" y="47"/>
                    <a:pt x="329" y="47"/>
                  </a:cubicBezTo>
                  <a:cubicBezTo>
                    <a:pt x="337" y="47"/>
                    <a:pt x="337" y="47"/>
                    <a:pt x="337" y="47"/>
                  </a:cubicBezTo>
                  <a:cubicBezTo>
                    <a:pt x="339" y="41"/>
                    <a:pt x="339" y="41"/>
                    <a:pt x="339" y="41"/>
                  </a:cubicBezTo>
                  <a:cubicBezTo>
                    <a:pt x="345" y="47"/>
                    <a:pt x="345" y="47"/>
                    <a:pt x="345" y="47"/>
                  </a:cubicBezTo>
                  <a:cubicBezTo>
                    <a:pt x="345" y="47"/>
                    <a:pt x="354" y="51"/>
                    <a:pt x="355" y="51"/>
                  </a:cubicBezTo>
                  <a:cubicBezTo>
                    <a:pt x="357" y="51"/>
                    <a:pt x="365" y="56"/>
                    <a:pt x="365" y="56"/>
                  </a:cubicBezTo>
                  <a:cubicBezTo>
                    <a:pt x="371" y="59"/>
                    <a:pt x="371" y="59"/>
                    <a:pt x="371" y="59"/>
                  </a:cubicBezTo>
                  <a:cubicBezTo>
                    <a:pt x="379" y="62"/>
                    <a:pt x="379" y="62"/>
                    <a:pt x="379" y="62"/>
                  </a:cubicBezTo>
                  <a:cubicBezTo>
                    <a:pt x="389" y="60"/>
                    <a:pt x="389" y="60"/>
                    <a:pt x="389" y="60"/>
                  </a:cubicBezTo>
                  <a:cubicBezTo>
                    <a:pt x="399" y="63"/>
                    <a:pt x="399" y="63"/>
                    <a:pt x="399" y="63"/>
                  </a:cubicBezTo>
                  <a:cubicBezTo>
                    <a:pt x="395" y="74"/>
                    <a:pt x="395" y="74"/>
                    <a:pt x="395" y="74"/>
                  </a:cubicBezTo>
                  <a:cubicBezTo>
                    <a:pt x="395" y="88"/>
                    <a:pt x="395" y="88"/>
                    <a:pt x="395" y="88"/>
                  </a:cubicBezTo>
                  <a:cubicBezTo>
                    <a:pt x="404" y="86"/>
                    <a:pt x="404" y="86"/>
                    <a:pt x="404" y="86"/>
                  </a:cubicBezTo>
                  <a:cubicBezTo>
                    <a:pt x="416" y="85"/>
                    <a:pt x="416" y="85"/>
                    <a:pt x="416" y="85"/>
                  </a:cubicBezTo>
                  <a:cubicBezTo>
                    <a:pt x="423" y="92"/>
                    <a:pt x="423" y="92"/>
                    <a:pt x="423" y="92"/>
                  </a:cubicBezTo>
                  <a:cubicBezTo>
                    <a:pt x="440" y="103"/>
                    <a:pt x="440" y="103"/>
                    <a:pt x="440" y="103"/>
                  </a:cubicBezTo>
                  <a:cubicBezTo>
                    <a:pt x="446" y="97"/>
                    <a:pt x="446" y="97"/>
                    <a:pt x="446" y="97"/>
                  </a:cubicBezTo>
                  <a:cubicBezTo>
                    <a:pt x="459" y="109"/>
                    <a:pt x="459" y="109"/>
                    <a:pt x="459" y="109"/>
                  </a:cubicBezTo>
                  <a:cubicBezTo>
                    <a:pt x="459" y="136"/>
                    <a:pt x="459" y="136"/>
                    <a:pt x="459" y="136"/>
                  </a:cubicBezTo>
                  <a:cubicBezTo>
                    <a:pt x="474" y="152"/>
                    <a:pt x="474" y="152"/>
                    <a:pt x="474" y="152"/>
                  </a:cubicBezTo>
                  <a:cubicBezTo>
                    <a:pt x="489" y="145"/>
                    <a:pt x="489" y="145"/>
                    <a:pt x="489" y="145"/>
                  </a:cubicBezTo>
                  <a:cubicBezTo>
                    <a:pt x="505" y="141"/>
                    <a:pt x="505" y="141"/>
                    <a:pt x="505" y="141"/>
                  </a:cubicBezTo>
                  <a:cubicBezTo>
                    <a:pt x="520" y="147"/>
                    <a:pt x="520" y="147"/>
                    <a:pt x="520" y="147"/>
                  </a:cubicBezTo>
                  <a:cubicBezTo>
                    <a:pt x="533" y="141"/>
                    <a:pt x="533" y="141"/>
                    <a:pt x="533" y="141"/>
                  </a:cubicBezTo>
                  <a:cubicBezTo>
                    <a:pt x="542" y="160"/>
                    <a:pt x="542" y="160"/>
                    <a:pt x="542" y="160"/>
                  </a:cubicBezTo>
                  <a:cubicBezTo>
                    <a:pt x="559" y="163"/>
                    <a:pt x="559" y="163"/>
                    <a:pt x="559" y="163"/>
                  </a:cubicBezTo>
                  <a:cubicBezTo>
                    <a:pt x="573" y="176"/>
                    <a:pt x="573" y="176"/>
                    <a:pt x="573" y="176"/>
                  </a:cubicBezTo>
                  <a:cubicBezTo>
                    <a:pt x="577" y="189"/>
                    <a:pt x="577" y="189"/>
                    <a:pt x="577" y="189"/>
                  </a:cubicBezTo>
                  <a:cubicBezTo>
                    <a:pt x="602" y="202"/>
                    <a:pt x="602" y="202"/>
                    <a:pt x="602" y="202"/>
                  </a:cubicBezTo>
                  <a:cubicBezTo>
                    <a:pt x="611" y="215"/>
                    <a:pt x="611" y="215"/>
                    <a:pt x="611" y="215"/>
                  </a:cubicBezTo>
                  <a:cubicBezTo>
                    <a:pt x="617" y="209"/>
                    <a:pt x="617" y="209"/>
                    <a:pt x="617" y="209"/>
                  </a:cubicBezTo>
                  <a:cubicBezTo>
                    <a:pt x="632" y="212"/>
                    <a:pt x="632" y="212"/>
                    <a:pt x="632" y="212"/>
                  </a:cubicBezTo>
                  <a:cubicBezTo>
                    <a:pt x="640" y="200"/>
                    <a:pt x="640" y="200"/>
                    <a:pt x="640" y="200"/>
                  </a:cubicBezTo>
                  <a:cubicBezTo>
                    <a:pt x="655" y="213"/>
                    <a:pt x="655" y="213"/>
                    <a:pt x="655" y="213"/>
                  </a:cubicBezTo>
                  <a:cubicBezTo>
                    <a:pt x="647" y="222"/>
                    <a:pt x="647" y="222"/>
                    <a:pt x="647" y="222"/>
                  </a:cubicBezTo>
                  <a:cubicBezTo>
                    <a:pt x="645" y="254"/>
                    <a:pt x="645" y="254"/>
                    <a:pt x="645" y="254"/>
                  </a:cubicBezTo>
                  <a:cubicBezTo>
                    <a:pt x="626" y="254"/>
                    <a:pt x="626" y="254"/>
                    <a:pt x="626" y="254"/>
                  </a:cubicBezTo>
                  <a:cubicBezTo>
                    <a:pt x="619" y="262"/>
                    <a:pt x="619" y="262"/>
                    <a:pt x="619" y="262"/>
                  </a:cubicBezTo>
                  <a:cubicBezTo>
                    <a:pt x="612" y="256"/>
                    <a:pt x="612" y="256"/>
                    <a:pt x="612" y="256"/>
                  </a:cubicBezTo>
                  <a:cubicBezTo>
                    <a:pt x="596" y="261"/>
                    <a:pt x="596" y="261"/>
                    <a:pt x="596" y="261"/>
                  </a:cubicBezTo>
                  <a:cubicBezTo>
                    <a:pt x="585" y="272"/>
                    <a:pt x="585" y="272"/>
                    <a:pt x="585" y="272"/>
                  </a:cubicBezTo>
                  <a:cubicBezTo>
                    <a:pt x="581" y="267"/>
                    <a:pt x="581" y="267"/>
                    <a:pt x="581" y="267"/>
                  </a:cubicBezTo>
                  <a:cubicBezTo>
                    <a:pt x="568" y="267"/>
                    <a:pt x="568" y="267"/>
                    <a:pt x="568" y="267"/>
                  </a:cubicBezTo>
                  <a:cubicBezTo>
                    <a:pt x="561" y="260"/>
                    <a:pt x="561" y="260"/>
                    <a:pt x="561" y="260"/>
                  </a:cubicBezTo>
                  <a:cubicBezTo>
                    <a:pt x="556" y="249"/>
                    <a:pt x="556" y="249"/>
                    <a:pt x="556" y="249"/>
                  </a:cubicBezTo>
                  <a:cubicBezTo>
                    <a:pt x="545" y="249"/>
                    <a:pt x="545" y="249"/>
                    <a:pt x="545" y="249"/>
                  </a:cubicBezTo>
                  <a:cubicBezTo>
                    <a:pt x="537" y="256"/>
                    <a:pt x="537" y="256"/>
                    <a:pt x="537" y="256"/>
                  </a:cubicBezTo>
                  <a:cubicBezTo>
                    <a:pt x="516" y="261"/>
                    <a:pt x="516" y="261"/>
                    <a:pt x="516" y="261"/>
                  </a:cubicBezTo>
                  <a:cubicBezTo>
                    <a:pt x="501" y="258"/>
                    <a:pt x="501" y="258"/>
                    <a:pt x="501" y="258"/>
                  </a:cubicBezTo>
                  <a:cubicBezTo>
                    <a:pt x="487" y="258"/>
                    <a:pt x="487" y="258"/>
                    <a:pt x="487" y="258"/>
                  </a:cubicBezTo>
                  <a:cubicBezTo>
                    <a:pt x="482" y="271"/>
                    <a:pt x="482" y="271"/>
                    <a:pt x="482" y="271"/>
                  </a:cubicBezTo>
                  <a:cubicBezTo>
                    <a:pt x="469" y="271"/>
                    <a:pt x="469" y="271"/>
                    <a:pt x="469" y="271"/>
                  </a:cubicBezTo>
                  <a:cubicBezTo>
                    <a:pt x="459" y="262"/>
                    <a:pt x="459" y="262"/>
                    <a:pt x="459" y="262"/>
                  </a:cubicBezTo>
                  <a:cubicBezTo>
                    <a:pt x="452" y="270"/>
                    <a:pt x="452" y="270"/>
                    <a:pt x="452" y="270"/>
                  </a:cubicBezTo>
                  <a:cubicBezTo>
                    <a:pt x="448" y="284"/>
                    <a:pt x="448" y="284"/>
                    <a:pt x="448" y="284"/>
                  </a:cubicBezTo>
                  <a:cubicBezTo>
                    <a:pt x="440" y="292"/>
                    <a:pt x="440" y="292"/>
                    <a:pt x="440" y="292"/>
                  </a:cubicBezTo>
                  <a:cubicBezTo>
                    <a:pt x="422" y="294"/>
                    <a:pt x="422" y="294"/>
                    <a:pt x="422" y="294"/>
                  </a:cubicBezTo>
                  <a:cubicBezTo>
                    <a:pt x="408" y="299"/>
                    <a:pt x="408" y="299"/>
                    <a:pt x="408" y="299"/>
                  </a:cubicBezTo>
                  <a:cubicBezTo>
                    <a:pt x="394" y="301"/>
                    <a:pt x="394" y="301"/>
                    <a:pt x="394" y="301"/>
                  </a:cubicBezTo>
                  <a:cubicBezTo>
                    <a:pt x="386" y="309"/>
                    <a:pt x="386" y="309"/>
                    <a:pt x="386" y="309"/>
                  </a:cubicBezTo>
                  <a:cubicBezTo>
                    <a:pt x="375" y="312"/>
                    <a:pt x="375" y="312"/>
                    <a:pt x="375" y="312"/>
                  </a:cubicBezTo>
                  <a:cubicBezTo>
                    <a:pt x="367" y="319"/>
                    <a:pt x="367" y="319"/>
                    <a:pt x="367" y="319"/>
                  </a:cubicBezTo>
                  <a:cubicBezTo>
                    <a:pt x="367" y="332"/>
                    <a:pt x="367" y="332"/>
                    <a:pt x="367" y="332"/>
                  </a:cubicBezTo>
                  <a:cubicBezTo>
                    <a:pt x="374" y="336"/>
                    <a:pt x="374" y="336"/>
                    <a:pt x="374" y="336"/>
                  </a:cubicBezTo>
                  <a:cubicBezTo>
                    <a:pt x="378" y="340"/>
                    <a:pt x="378" y="340"/>
                    <a:pt x="378" y="340"/>
                  </a:cubicBezTo>
                  <a:cubicBezTo>
                    <a:pt x="378" y="347"/>
                    <a:pt x="378" y="347"/>
                    <a:pt x="378" y="347"/>
                  </a:cubicBezTo>
                  <a:cubicBezTo>
                    <a:pt x="381" y="353"/>
                    <a:pt x="381" y="353"/>
                    <a:pt x="381" y="353"/>
                  </a:cubicBezTo>
                  <a:cubicBezTo>
                    <a:pt x="374" y="359"/>
                    <a:pt x="374" y="359"/>
                    <a:pt x="374" y="359"/>
                  </a:cubicBezTo>
                  <a:cubicBezTo>
                    <a:pt x="366" y="361"/>
                    <a:pt x="366" y="361"/>
                    <a:pt x="366" y="361"/>
                  </a:cubicBezTo>
                  <a:cubicBezTo>
                    <a:pt x="362" y="365"/>
                    <a:pt x="362" y="365"/>
                    <a:pt x="362" y="365"/>
                  </a:cubicBezTo>
                  <a:cubicBezTo>
                    <a:pt x="356" y="372"/>
                    <a:pt x="356" y="372"/>
                    <a:pt x="356" y="372"/>
                  </a:cubicBezTo>
                  <a:cubicBezTo>
                    <a:pt x="348" y="372"/>
                    <a:pt x="348" y="372"/>
                    <a:pt x="348" y="372"/>
                  </a:cubicBezTo>
                  <a:cubicBezTo>
                    <a:pt x="348" y="377"/>
                    <a:pt x="348" y="377"/>
                    <a:pt x="348" y="377"/>
                  </a:cubicBezTo>
                  <a:cubicBezTo>
                    <a:pt x="342" y="383"/>
                    <a:pt x="342" y="383"/>
                    <a:pt x="342" y="383"/>
                  </a:cubicBezTo>
                  <a:cubicBezTo>
                    <a:pt x="335" y="388"/>
                    <a:pt x="335" y="388"/>
                    <a:pt x="335" y="388"/>
                  </a:cubicBezTo>
                  <a:cubicBezTo>
                    <a:pt x="328" y="385"/>
                    <a:pt x="328" y="385"/>
                    <a:pt x="328" y="385"/>
                  </a:cubicBezTo>
                  <a:cubicBezTo>
                    <a:pt x="321" y="394"/>
                    <a:pt x="321" y="394"/>
                    <a:pt x="321" y="394"/>
                  </a:cubicBezTo>
                  <a:cubicBezTo>
                    <a:pt x="314" y="400"/>
                    <a:pt x="314" y="400"/>
                    <a:pt x="314" y="400"/>
                  </a:cubicBezTo>
                  <a:cubicBezTo>
                    <a:pt x="317" y="410"/>
                    <a:pt x="317" y="410"/>
                    <a:pt x="317" y="410"/>
                  </a:cubicBezTo>
                  <a:cubicBezTo>
                    <a:pt x="314" y="428"/>
                    <a:pt x="314" y="428"/>
                    <a:pt x="314" y="428"/>
                  </a:cubicBezTo>
                  <a:cubicBezTo>
                    <a:pt x="320" y="438"/>
                    <a:pt x="320" y="438"/>
                    <a:pt x="320" y="438"/>
                  </a:cubicBezTo>
                  <a:cubicBezTo>
                    <a:pt x="318" y="459"/>
                    <a:pt x="318" y="459"/>
                    <a:pt x="318" y="459"/>
                  </a:cubicBezTo>
                  <a:cubicBezTo>
                    <a:pt x="307" y="459"/>
                    <a:pt x="307" y="459"/>
                    <a:pt x="307" y="459"/>
                  </a:cubicBezTo>
                  <a:cubicBezTo>
                    <a:pt x="304" y="465"/>
                    <a:pt x="304" y="465"/>
                    <a:pt x="304" y="465"/>
                  </a:cubicBezTo>
                  <a:cubicBezTo>
                    <a:pt x="290" y="474"/>
                    <a:pt x="290" y="474"/>
                    <a:pt x="290" y="474"/>
                  </a:cubicBezTo>
                  <a:cubicBezTo>
                    <a:pt x="279" y="480"/>
                    <a:pt x="279" y="480"/>
                    <a:pt x="279" y="480"/>
                  </a:cubicBezTo>
                  <a:cubicBezTo>
                    <a:pt x="272" y="486"/>
                    <a:pt x="272" y="486"/>
                    <a:pt x="272" y="486"/>
                  </a:cubicBezTo>
                  <a:cubicBezTo>
                    <a:pt x="266" y="487"/>
                    <a:pt x="266" y="487"/>
                    <a:pt x="266" y="487"/>
                  </a:cubicBezTo>
                  <a:cubicBezTo>
                    <a:pt x="256" y="491"/>
                    <a:pt x="256" y="491"/>
                    <a:pt x="256" y="491"/>
                  </a:cubicBezTo>
                  <a:cubicBezTo>
                    <a:pt x="262" y="505"/>
                    <a:pt x="262" y="505"/>
                    <a:pt x="262" y="505"/>
                  </a:cubicBezTo>
                  <a:cubicBezTo>
                    <a:pt x="257" y="510"/>
                    <a:pt x="257" y="510"/>
                    <a:pt x="257" y="510"/>
                  </a:cubicBezTo>
                  <a:cubicBezTo>
                    <a:pt x="243" y="510"/>
                    <a:pt x="243" y="510"/>
                    <a:pt x="243" y="510"/>
                  </a:cubicBezTo>
                  <a:cubicBezTo>
                    <a:pt x="233" y="504"/>
                    <a:pt x="233" y="504"/>
                    <a:pt x="233" y="504"/>
                  </a:cubicBezTo>
                  <a:cubicBezTo>
                    <a:pt x="231" y="497"/>
                    <a:pt x="231" y="497"/>
                    <a:pt x="231" y="497"/>
                  </a:cubicBezTo>
                  <a:cubicBezTo>
                    <a:pt x="221" y="495"/>
                    <a:pt x="221" y="495"/>
                    <a:pt x="221" y="495"/>
                  </a:cubicBezTo>
                  <a:cubicBezTo>
                    <a:pt x="212" y="503"/>
                    <a:pt x="212" y="503"/>
                    <a:pt x="212" y="503"/>
                  </a:cubicBezTo>
                  <a:cubicBezTo>
                    <a:pt x="193" y="503"/>
                    <a:pt x="193" y="503"/>
                    <a:pt x="193" y="503"/>
                  </a:cubicBezTo>
                  <a:cubicBezTo>
                    <a:pt x="188" y="519"/>
                    <a:pt x="188" y="519"/>
                    <a:pt x="188" y="519"/>
                  </a:cubicBezTo>
                  <a:cubicBezTo>
                    <a:pt x="172" y="535"/>
                    <a:pt x="172" y="535"/>
                    <a:pt x="172" y="535"/>
                  </a:cubicBezTo>
                  <a:cubicBezTo>
                    <a:pt x="155" y="535"/>
                    <a:pt x="155" y="535"/>
                    <a:pt x="155" y="535"/>
                  </a:cubicBezTo>
                  <a:cubicBezTo>
                    <a:pt x="149" y="541"/>
                    <a:pt x="149" y="541"/>
                    <a:pt x="149" y="541"/>
                  </a:cubicBezTo>
                  <a:cubicBezTo>
                    <a:pt x="140" y="541"/>
                    <a:pt x="140" y="541"/>
                    <a:pt x="140" y="541"/>
                  </a:cubicBezTo>
                  <a:cubicBezTo>
                    <a:pt x="135" y="534"/>
                    <a:pt x="135" y="534"/>
                    <a:pt x="135" y="534"/>
                  </a:cubicBezTo>
                  <a:cubicBezTo>
                    <a:pt x="123" y="534"/>
                    <a:pt x="123" y="534"/>
                    <a:pt x="123" y="534"/>
                  </a:cubicBezTo>
                  <a:cubicBezTo>
                    <a:pt x="123" y="526"/>
                    <a:pt x="123" y="526"/>
                    <a:pt x="123" y="526"/>
                  </a:cubicBezTo>
                  <a:cubicBezTo>
                    <a:pt x="118" y="521"/>
                    <a:pt x="118" y="521"/>
                    <a:pt x="118" y="521"/>
                  </a:cubicBezTo>
                  <a:cubicBezTo>
                    <a:pt x="107" y="515"/>
                    <a:pt x="107" y="515"/>
                    <a:pt x="107" y="515"/>
                  </a:cubicBezTo>
                  <a:cubicBezTo>
                    <a:pt x="107" y="501"/>
                    <a:pt x="107" y="501"/>
                    <a:pt x="107" y="501"/>
                  </a:cubicBezTo>
                  <a:cubicBezTo>
                    <a:pt x="98" y="492"/>
                    <a:pt x="98" y="492"/>
                    <a:pt x="98" y="492"/>
                  </a:cubicBezTo>
                  <a:cubicBezTo>
                    <a:pt x="96" y="489"/>
                    <a:pt x="96" y="489"/>
                    <a:pt x="96" y="489"/>
                  </a:cubicBezTo>
                  <a:cubicBezTo>
                    <a:pt x="92" y="474"/>
                    <a:pt x="92" y="474"/>
                    <a:pt x="92" y="474"/>
                  </a:cubicBezTo>
                  <a:cubicBezTo>
                    <a:pt x="82" y="468"/>
                    <a:pt x="82" y="468"/>
                    <a:pt x="82" y="468"/>
                  </a:cubicBezTo>
                  <a:cubicBezTo>
                    <a:pt x="72" y="456"/>
                    <a:pt x="72" y="456"/>
                    <a:pt x="72" y="456"/>
                  </a:cubicBezTo>
                  <a:cubicBezTo>
                    <a:pt x="76" y="442"/>
                    <a:pt x="76" y="442"/>
                    <a:pt x="76" y="442"/>
                  </a:cubicBezTo>
                  <a:cubicBezTo>
                    <a:pt x="72" y="421"/>
                    <a:pt x="72" y="421"/>
                    <a:pt x="72" y="421"/>
                  </a:cubicBezTo>
                  <a:cubicBezTo>
                    <a:pt x="59" y="412"/>
                    <a:pt x="59" y="412"/>
                    <a:pt x="59" y="412"/>
                  </a:cubicBezTo>
                  <a:cubicBezTo>
                    <a:pt x="44" y="401"/>
                    <a:pt x="44" y="401"/>
                    <a:pt x="44" y="401"/>
                  </a:cubicBezTo>
                  <a:cubicBezTo>
                    <a:pt x="40" y="385"/>
                    <a:pt x="40" y="385"/>
                    <a:pt x="40" y="385"/>
                  </a:cubicBezTo>
                  <a:cubicBezTo>
                    <a:pt x="30" y="377"/>
                    <a:pt x="30" y="377"/>
                    <a:pt x="30" y="377"/>
                  </a:cubicBezTo>
                  <a:cubicBezTo>
                    <a:pt x="26" y="368"/>
                    <a:pt x="26" y="368"/>
                    <a:pt x="26" y="368"/>
                  </a:cubicBezTo>
                  <a:cubicBezTo>
                    <a:pt x="35" y="358"/>
                    <a:pt x="35" y="358"/>
                    <a:pt x="35" y="358"/>
                  </a:cubicBezTo>
                  <a:cubicBezTo>
                    <a:pt x="42" y="343"/>
                    <a:pt x="42" y="343"/>
                    <a:pt x="42" y="343"/>
                  </a:cubicBezTo>
                  <a:cubicBezTo>
                    <a:pt x="42" y="329"/>
                    <a:pt x="42" y="329"/>
                    <a:pt x="42" y="329"/>
                  </a:cubicBezTo>
                  <a:cubicBezTo>
                    <a:pt x="34" y="316"/>
                    <a:pt x="34" y="316"/>
                    <a:pt x="34" y="316"/>
                  </a:cubicBezTo>
                  <a:cubicBezTo>
                    <a:pt x="27" y="305"/>
                    <a:pt x="27" y="305"/>
                    <a:pt x="27" y="305"/>
                  </a:cubicBezTo>
                  <a:cubicBezTo>
                    <a:pt x="34" y="299"/>
                    <a:pt x="34" y="299"/>
                    <a:pt x="34" y="299"/>
                  </a:cubicBezTo>
                  <a:cubicBezTo>
                    <a:pt x="38" y="289"/>
                    <a:pt x="38" y="289"/>
                    <a:pt x="38" y="289"/>
                  </a:cubicBezTo>
                  <a:cubicBezTo>
                    <a:pt x="46" y="289"/>
                    <a:pt x="46" y="289"/>
                    <a:pt x="46" y="289"/>
                  </a:cubicBezTo>
                  <a:cubicBezTo>
                    <a:pt x="52" y="284"/>
                    <a:pt x="52" y="284"/>
                    <a:pt x="52" y="284"/>
                  </a:cubicBezTo>
                  <a:cubicBezTo>
                    <a:pt x="56" y="266"/>
                    <a:pt x="56" y="266"/>
                    <a:pt x="56" y="266"/>
                  </a:cubicBezTo>
                  <a:cubicBezTo>
                    <a:pt x="58" y="255"/>
                    <a:pt x="58" y="255"/>
                    <a:pt x="58" y="255"/>
                  </a:cubicBezTo>
                  <a:cubicBezTo>
                    <a:pt x="52" y="242"/>
                    <a:pt x="52" y="242"/>
                    <a:pt x="52" y="242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35" y="233"/>
                    <a:pt x="35" y="233"/>
                    <a:pt x="35" y="233"/>
                  </a:cubicBezTo>
                  <a:cubicBezTo>
                    <a:pt x="28" y="225"/>
                    <a:pt x="28" y="225"/>
                    <a:pt x="28" y="225"/>
                  </a:cubicBezTo>
                  <a:cubicBezTo>
                    <a:pt x="22" y="217"/>
                    <a:pt x="22" y="217"/>
                    <a:pt x="22" y="217"/>
                  </a:cubicBezTo>
                  <a:cubicBezTo>
                    <a:pt x="13" y="224"/>
                    <a:pt x="13" y="224"/>
                    <a:pt x="13" y="224"/>
                  </a:cubicBezTo>
                  <a:cubicBezTo>
                    <a:pt x="6" y="217"/>
                    <a:pt x="6" y="217"/>
                    <a:pt x="6" y="217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6" y="197"/>
                    <a:pt x="6" y="197"/>
                    <a:pt x="6" y="197"/>
                  </a:cubicBezTo>
                  <a:cubicBezTo>
                    <a:pt x="18" y="184"/>
                    <a:pt x="18" y="184"/>
                    <a:pt x="18" y="184"/>
                  </a:cubicBezTo>
                  <a:cubicBezTo>
                    <a:pt x="27" y="174"/>
                    <a:pt x="27" y="174"/>
                    <a:pt x="27" y="174"/>
                  </a:cubicBezTo>
                  <a:cubicBezTo>
                    <a:pt x="30" y="162"/>
                    <a:pt x="30" y="162"/>
                    <a:pt x="30" y="162"/>
                  </a:cubicBezTo>
                  <a:cubicBezTo>
                    <a:pt x="40" y="161"/>
                    <a:pt x="40" y="161"/>
                    <a:pt x="40" y="161"/>
                  </a:cubicBezTo>
                  <a:cubicBezTo>
                    <a:pt x="48" y="169"/>
                    <a:pt x="48" y="169"/>
                    <a:pt x="48" y="169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65" y="184"/>
                    <a:pt x="65" y="184"/>
                    <a:pt x="65" y="184"/>
                  </a:cubicBezTo>
                  <a:cubicBezTo>
                    <a:pt x="78" y="180"/>
                    <a:pt x="78" y="180"/>
                    <a:pt x="78" y="180"/>
                  </a:cubicBezTo>
                  <a:close/>
                </a:path>
              </a:pathLst>
            </a:custGeom>
            <a:solidFill>
              <a:srgbClr val="456EA9"/>
            </a:solidFill>
            <a:ln w="7938" cap="flat">
              <a:solidFill>
                <a:sysClr val="window" lastClr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" name="Freeform 6">
              <a:extLst>
                <a:ext uri="{FF2B5EF4-FFF2-40B4-BE49-F238E27FC236}">
                  <a16:creationId xmlns:a16="http://schemas.microsoft.com/office/drawing/2014/main" id="{A036D180-7EFE-6B8B-4754-0F3BF5B07BFD}"/>
                </a:ext>
              </a:extLst>
            </p:cNvPr>
            <p:cNvSpPr>
              <a:spLocks/>
            </p:cNvSpPr>
            <p:nvPr/>
          </p:nvSpPr>
          <p:spPr bwMode="auto">
            <a:xfrm>
              <a:off x="767" y="1843"/>
              <a:ext cx="1016" cy="980"/>
            </a:xfrm>
            <a:custGeom>
              <a:avLst/>
              <a:gdLst>
                <a:gd name="T0" fmla="*/ 730 w 1016"/>
                <a:gd name="T1" fmla="*/ 831 h 980"/>
                <a:gd name="T2" fmla="*/ 726 w 1016"/>
                <a:gd name="T3" fmla="*/ 874 h 980"/>
                <a:gd name="T4" fmla="*/ 765 w 1016"/>
                <a:gd name="T5" fmla="*/ 922 h 980"/>
                <a:gd name="T6" fmla="*/ 737 w 1016"/>
                <a:gd name="T7" fmla="*/ 978 h 980"/>
                <a:gd name="T8" fmla="*/ 681 w 1016"/>
                <a:gd name="T9" fmla="*/ 964 h 980"/>
                <a:gd name="T10" fmla="*/ 631 w 1016"/>
                <a:gd name="T11" fmla="*/ 901 h 980"/>
                <a:gd name="T12" fmla="*/ 561 w 1016"/>
                <a:gd name="T13" fmla="*/ 869 h 980"/>
                <a:gd name="T14" fmla="*/ 481 w 1016"/>
                <a:gd name="T15" fmla="*/ 849 h 980"/>
                <a:gd name="T16" fmla="*/ 454 w 1016"/>
                <a:gd name="T17" fmla="*/ 829 h 980"/>
                <a:gd name="T18" fmla="*/ 399 w 1016"/>
                <a:gd name="T19" fmla="*/ 742 h 980"/>
                <a:gd name="T20" fmla="*/ 347 w 1016"/>
                <a:gd name="T21" fmla="*/ 702 h 980"/>
                <a:gd name="T22" fmla="*/ 270 w 1016"/>
                <a:gd name="T23" fmla="*/ 689 h 980"/>
                <a:gd name="T24" fmla="*/ 199 w 1016"/>
                <a:gd name="T25" fmla="*/ 711 h 980"/>
                <a:gd name="T26" fmla="*/ 151 w 1016"/>
                <a:gd name="T27" fmla="*/ 706 h 980"/>
                <a:gd name="T28" fmla="*/ 120 w 1016"/>
                <a:gd name="T29" fmla="*/ 650 h 980"/>
                <a:gd name="T30" fmla="*/ 80 w 1016"/>
                <a:gd name="T31" fmla="*/ 606 h 980"/>
                <a:gd name="T32" fmla="*/ 55 w 1016"/>
                <a:gd name="T33" fmla="*/ 540 h 980"/>
                <a:gd name="T34" fmla="*/ 0 w 1016"/>
                <a:gd name="T35" fmla="*/ 500 h 980"/>
                <a:gd name="T36" fmla="*/ 22 w 1016"/>
                <a:gd name="T37" fmla="*/ 454 h 980"/>
                <a:gd name="T38" fmla="*/ 83 w 1016"/>
                <a:gd name="T39" fmla="*/ 418 h 980"/>
                <a:gd name="T40" fmla="*/ 96 w 1016"/>
                <a:gd name="T41" fmla="*/ 319 h 980"/>
                <a:gd name="T42" fmla="*/ 134 w 1016"/>
                <a:gd name="T43" fmla="*/ 301 h 980"/>
                <a:gd name="T44" fmla="*/ 163 w 1016"/>
                <a:gd name="T45" fmla="*/ 259 h 980"/>
                <a:gd name="T46" fmla="*/ 184 w 1016"/>
                <a:gd name="T47" fmla="*/ 207 h 980"/>
                <a:gd name="T48" fmla="*/ 262 w 1016"/>
                <a:gd name="T49" fmla="*/ 165 h 980"/>
                <a:gd name="T50" fmla="*/ 327 w 1016"/>
                <a:gd name="T51" fmla="*/ 149 h 980"/>
                <a:gd name="T52" fmla="*/ 407 w 1016"/>
                <a:gd name="T53" fmla="*/ 152 h 980"/>
                <a:gd name="T54" fmla="*/ 475 w 1016"/>
                <a:gd name="T55" fmla="*/ 147 h 980"/>
                <a:gd name="T56" fmla="*/ 533 w 1016"/>
                <a:gd name="T57" fmla="*/ 89 h 980"/>
                <a:gd name="T58" fmla="*/ 541 w 1016"/>
                <a:gd name="T59" fmla="*/ 32 h 980"/>
                <a:gd name="T60" fmla="*/ 623 w 1016"/>
                <a:gd name="T61" fmla="*/ 22 h 980"/>
                <a:gd name="T62" fmla="*/ 618 w 1016"/>
                <a:gd name="T63" fmla="*/ 79 h 980"/>
                <a:gd name="T64" fmla="*/ 599 w 1016"/>
                <a:gd name="T65" fmla="*/ 128 h 980"/>
                <a:gd name="T66" fmla="*/ 614 w 1016"/>
                <a:gd name="T67" fmla="*/ 161 h 980"/>
                <a:gd name="T68" fmla="*/ 677 w 1016"/>
                <a:gd name="T69" fmla="*/ 144 h 980"/>
                <a:gd name="T70" fmla="*/ 723 w 1016"/>
                <a:gd name="T71" fmla="*/ 152 h 980"/>
                <a:gd name="T72" fmla="*/ 755 w 1016"/>
                <a:gd name="T73" fmla="*/ 121 h 980"/>
                <a:gd name="T74" fmla="*/ 793 w 1016"/>
                <a:gd name="T75" fmla="*/ 124 h 980"/>
                <a:gd name="T76" fmla="*/ 843 w 1016"/>
                <a:gd name="T77" fmla="*/ 164 h 980"/>
                <a:gd name="T78" fmla="*/ 897 w 1016"/>
                <a:gd name="T79" fmla="*/ 163 h 980"/>
                <a:gd name="T80" fmla="*/ 962 w 1016"/>
                <a:gd name="T81" fmla="*/ 173 h 980"/>
                <a:gd name="T82" fmla="*/ 997 w 1016"/>
                <a:gd name="T83" fmla="*/ 228 h 980"/>
                <a:gd name="T84" fmla="*/ 929 w 1016"/>
                <a:gd name="T85" fmla="*/ 300 h 980"/>
                <a:gd name="T86" fmla="*/ 910 w 1016"/>
                <a:gd name="T87" fmla="*/ 383 h 980"/>
                <a:gd name="T88" fmla="*/ 882 w 1016"/>
                <a:gd name="T89" fmla="*/ 416 h 980"/>
                <a:gd name="T90" fmla="*/ 858 w 1016"/>
                <a:gd name="T91" fmla="*/ 459 h 980"/>
                <a:gd name="T92" fmla="*/ 807 w 1016"/>
                <a:gd name="T93" fmla="*/ 482 h 980"/>
                <a:gd name="T94" fmla="*/ 771 w 1016"/>
                <a:gd name="T95" fmla="*/ 511 h 980"/>
                <a:gd name="T96" fmla="*/ 814 w 1016"/>
                <a:gd name="T97" fmla="*/ 570 h 980"/>
                <a:gd name="T98" fmla="*/ 815 w 1016"/>
                <a:gd name="T99" fmla="*/ 618 h 980"/>
                <a:gd name="T100" fmla="*/ 754 w 1016"/>
                <a:gd name="T101" fmla="*/ 606 h 980"/>
                <a:gd name="T102" fmla="*/ 719 w 1016"/>
                <a:gd name="T103" fmla="*/ 634 h 980"/>
                <a:gd name="T104" fmla="*/ 786 w 1016"/>
                <a:gd name="T105" fmla="*/ 679 h 980"/>
                <a:gd name="T106" fmla="*/ 761 w 1016"/>
                <a:gd name="T107" fmla="*/ 709 h 980"/>
                <a:gd name="T108" fmla="*/ 717 w 1016"/>
                <a:gd name="T109" fmla="*/ 763 h 980"/>
                <a:gd name="T110" fmla="*/ 679 w 1016"/>
                <a:gd name="T111" fmla="*/ 821 h 9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016" h="980">
                  <a:moveTo>
                    <a:pt x="674" y="830"/>
                  </a:moveTo>
                  <a:lnTo>
                    <a:pt x="689" y="830"/>
                  </a:lnTo>
                  <a:lnTo>
                    <a:pt x="706" y="830"/>
                  </a:lnTo>
                  <a:lnTo>
                    <a:pt x="715" y="826"/>
                  </a:lnTo>
                  <a:lnTo>
                    <a:pt x="730" y="831"/>
                  </a:lnTo>
                  <a:lnTo>
                    <a:pt x="739" y="831"/>
                  </a:lnTo>
                  <a:lnTo>
                    <a:pt x="746" y="843"/>
                  </a:lnTo>
                  <a:lnTo>
                    <a:pt x="741" y="854"/>
                  </a:lnTo>
                  <a:lnTo>
                    <a:pt x="725" y="862"/>
                  </a:lnTo>
                  <a:lnTo>
                    <a:pt x="726" y="874"/>
                  </a:lnTo>
                  <a:lnTo>
                    <a:pt x="735" y="874"/>
                  </a:lnTo>
                  <a:lnTo>
                    <a:pt x="738" y="888"/>
                  </a:lnTo>
                  <a:lnTo>
                    <a:pt x="743" y="901"/>
                  </a:lnTo>
                  <a:lnTo>
                    <a:pt x="757" y="913"/>
                  </a:lnTo>
                  <a:lnTo>
                    <a:pt x="765" y="922"/>
                  </a:lnTo>
                  <a:lnTo>
                    <a:pt x="769" y="937"/>
                  </a:lnTo>
                  <a:lnTo>
                    <a:pt x="781" y="949"/>
                  </a:lnTo>
                  <a:lnTo>
                    <a:pt x="769" y="966"/>
                  </a:lnTo>
                  <a:lnTo>
                    <a:pt x="757" y="978"/>
                  </a:lnTo>
                  <a:lnTo>
                    <a:pt x="737" y="978"/>
                  </a:lnTo>
                  <a:lnTo>
                    <a:pt x="717" y="980"/>
                  </a:lnTo>
                  <a:lnTo>
                    <a:pt x="707" y="969"/>
                  </a:lnTo>
                  <a:lnTo>
                    <a:pt x="699" y="954"/>
                  </a:lnTo>
                  <a:lnTo>
                    <a:pt x="691" y="954"/>
                  </a:lnTo>
                  <a:lnTo>
                    <a:pt x="681" y="964"/>
                  </a:lnTo>
                  <a:lnTo>
                    <a:pt x="666" y="964"/>
                  </a:lnTo>
                  <a:lnTo>
                    <a:pt x="649" y="946"/>
                  </a:lnTo>
                  <a:lnTo>
                    <a:pt x="645" y="937"/>
                  </a:lnTo>
                  <a:lnTo>
                    <a:pt x="631" y="924"/>
                  </a:lnTo>
                  <a:lnTo>
                    <a:pt x="631" y="901"/>
                  </a:lnTo>
                  <a:lnTo>
                    <a:pt x="621" y="890"/>
                  </a:lnTo>
                  <a:lnTo>
                    <a:pt x="601" y="890"/>
                  </a:lnTo>
                  <a:lnTo>
                    <a:pt x="583" y="896"/>
                  </a:lnTo>
                  <a:lnTo>
                    <a:pt x="577" y="882"/>
                  </a:lnTo>
                  <a:lnTo>
                    <a:pt x="561" y="869"/>
                  </a:lnTo>
                  <a:lnTo>
                    <a:pt x="545" y="861"/>
                  </a:lnTo>
                  <a:lnTo>
                    <a:pt x="525" y="872"/>
                  </a:lnTo>
                  <a:lnTo>
                    <a:pt x="506" y="874"/>
                  </a:lnTo>
                  <a:lnTo>
                    <a:pt x="491" y="869"/>
                  </a:lnTo>
                  <a:lnTo>
                    <a:pt x="481" y="849"/>
                  </a:lnTo>
                  <a:lnTo>
                    <a:pt x="465" y="835"/>
                  </a:lnTo>
                  <a:lnTo>
                    <a:pt x="454" y="853"/>
                  </a:lnTo>
                  <a:lnTo>
                    <a:pt x="443" y="853"/>
                  </a:lnTo>
                  <a:lnTo>
                    <a:pt x="443" y="839"/>
                  </a:lnTo>
                  <a:lnTo>
                    <a:pt x="454" y="829"/>
                  </a:lnTo>
                  <a:lnTo>
                    <a:pt x="446" y="813"/>
                  </a:lnTo>
                  <a:lnTo>
                    <a:pt x="438" y="790"/>
                  </a:lnTo>
                  <a:lnTo>
                    <a:pt x="434" y="766"/>
                  </a:lnTo>
                  <a:lnTo>
                    <a:pt x="421" y="750"/>
                  </a:lnTo>
                  <a:lnTo>
                    <a:pt x="399" y="742"/>
                  </a:lnTo>
                  <a:lnTo>
                    <a:pt x="392" y="727"/>
                  </a:lnTo>
                  <a:lnTo>
                    <a:pt x="382" y="715"/>
                  </a:lnTo>
                  <a:lnTo>
                    <a:pt x="360" y="719"/>
                  </a:lnTo>
                  <a:lnTo>
                    <a:pt x="347" y="719"/>
                  </a:lnTo>
                  <a:lnTo>
                    <a:pt x="347" y="702"/>
                  </a:lnTo>
                  <a:lnTo>
                    <a:pt x="342" y="685"/>
                  </a:lnTo>
                  <a:lnTo>
                    <a:pt x="319" y="681"/>
                  </a:lnTo>
                  <a:lnTo>
                    <a:pt x="308" y="691"/>
                  </a:lnTo>
                  <a:lnTo>
                    <a:pt x="288" y="698"/>
                  </a:lnTo>
                  <a:lnTo>
                    <a:pt x="270" y="689"/>
                  </a:lnTo>
                  <a:lnTo>
                    <a:pt x="251" y="689"/>
                  </a:lnTo>
                  <a:lnTo>
                    <a:pt x="243" y="702"/>
                  </a:lnTo>
                  <a:lnTo>
                    <a:pt x="224" y="702"/>
                  </a:lnTo>
                  <a:lnTo>
                    <a:pt x="203" y="702"/>
                  </a:lnTo>
                  <a:lnTo>
                    <a:pt x="199" y="711"/>
                  </a:lnTo>
                  <a:lnTo>
                    <a:pt x="187" y="723"/>
                  </a:lnTo>
                  <a:lnTo>
                    <a:pt x="186" y="741"/>
                  </a:lnTo>
                  <a:lnTo>
                    <a:pt x="164" y="737"/>
                  </a:lnTo>
                  <a:lnTo>
                    <a:pt x="151" y="723"/>
                  </a:lnTo>
                  <a:lnTo>
                    <a:pt x="151" y="706"/>
                  </a:lnTo>
                  <a:lnTo>
                    <a:pt x="156" y="689"/>
                  </a:lnTo>
                  <a:lnTo>
                    <a:pt x="147" y="679"/>
                  </a:lnTo>
                  <a:lnTo>
                    <a:pt x="132" y="679"/>
                  </a:lnTo>
                  <a:lnTo>
                    <a:pt x="132" y="661"/>
                  </a:lnTo>
                  <a:lnTo>
                    <a:pt x="120" y="650"/>
                  </a:lnTo>
                  <a:lnTo>
                    <a:pt x="119" y="637"/>
                  </a:lnTo>
                  <a:lnTo>
                    <a:pt x="106" y="637"/>
                  </a:lnTo>
                  <a:lnTo>
                    <a:pt x="98" y="629"/>
                  </a:lnTo>
                  <a:lnTo>
                    <a:pt x="94" y="610"/>
                  </a:lnTo>
                  <a:lnTo>
                    <a:pt x="80" y="606"/>
                  </a:lnTo>
                  <a:lnTo>
                    <a:pt x="75" y="613"/>
                  </a:lnTo>
                  <a:lnTo>
                    <a:pt x="63" y="600"/>
                  </a:lnTo>
                  <a:lnTo>
                    <a:pt x="79" y="586"/>
                  </a:lnTo>
                  <a:lnTo>
                    <a:pt x="76" y="560"/>
                  </a:lnTo>
                  <a:lnTo>
                    <a:pt x="55" y="540"/>
                  </a:lnTo>
                  <a:lnTo>
                    <a:pt x="38" y="540"/>
                  </a:lnTo>
                  <a:lnTo>
                    <a:pt x="38" y="531"/>
                  </a:lnTo>
                  <a:lnTo>
                    <a:pt x="26" y="524"/>
                  </a:lnTo>
                  <a:lnTo>
                    <a:pt x="6" y="522"/>
                  </a:lnTo>
                  <a:lnTo>
                    <a:pt x="0" y="500"/>
                  </a:lnTo>
                  <a:lnTo>
                    <a:pt x="2" y="486"/>
                  </a:lnTo>
                  <a:lnTo>
                    <a:pt x="8" y="479"/>
                  </a:lnTo>
                  <a:lnTo>
                    <a:pt x="0" y="460"/>
                  </a:lnTo>
                  <a:lnTo>
                    <a:pt x="14" y="455"/>
                  </a:lnTo>
                  <a:lnTo>
                    <a:pt x="22" y="454"/>
                  </a:lnTo>
                  <a:lnTo>
                    <a:pt x="31" y="446"/>
                  </a:lnTo>
                  <a:lnTo>
                    <a:pt x="46" y="438"/>
                  </a:lnTo>
                  <a:lnTo>
                    <a:pt x="64" y="426"/>
                  </a:lnTo>
                  <a:lnTo>
                    <a:pt x="68" y="418"/>
                  </a:lnTo>
                  <a:lnTo>
                    <a:pt x="83" y="418"/>
                  </a:lnTo>
                  <a:lnTo>
                    <a:pt x="86" y="390"/>
                  </a:lnTo>
                  <a:lnTo>
                    <a:pt x="78" y="376"/>
                  </a:lnTo>
                  <a:lnTo>
                    <a:pt x="82" y="352"/>
                  </a:lnTo>
                  <a:lnTo>
                    <a:pt x="78" y="339"/>
                  </a:lnTo>
                  <a:lnTo>
                    <a:pt x="96" y="319"/>
                  </a:lnTo>
                  <a:lnTo>
                    <a:pt x="106" y="323"/>
                  </a:lnTo>
                  <a:lnTo>
                    <a:pt x="115" y="316"/>
                  </a:lnTo>
                  <a:lnTo>
                    <a:pt x="123" y="308"/>
                  </a:lnTo>
                  <a:lnTo>
                    <a:pt x="123" y="301"/>
                  </a:lnTo>
                  <a:lnTo>
                    <a:pt x="134" y="301"/>
                  </a:lnTo>
                  <a:lnTo>
                    <a:pt x="147" y="287"/>
                  </a:lnTo>
                  <a:lnTo>
                    <a:pt x="158" y="284"/>
                  </a:lnTo>
                  <a:lnTo>
                    <a:pt x="167" y="276"/>
                  </a:lnTo>
                  <a:lnTo>
                    <a:pt x="163" y="268"/>
                  </a:lnTo>
                  <a:lnTo>
                    <a:pt x="163" y="259"/>
                  </a:lnTo>
                  <a:lnTo>
                    <a:pt x="148" y="248"/>
                  </a:lnTo>
                  <a:lnTo>
                    <a:pt x="148" y="231"/>
                  </a:lnTo>
                  <a:lnTo>
                    <a:pt x="159" y="221"/>
                  </a:lnTo>
                  <a:lnTo>
                    <a:pt x="174" y="217"/>
                  </a:lnTo>
                  <a:lnTo>
                    <a:pt x="184" y="207"/>
                  </a:lnTo>
                  <a:lnTo>
                    <a:pt x="203" y="204"/>
                  </a:lnTo>
                  <a:lnTo>
                    <a:pt x="222" y="197"/>
                  </a:lnTo>
                  <a:lnTo>
                    <a:pt x="246" y="195"/>
                  </a:lnTo>
                  <a:lnTo>
                    <a:pt x="256" y="184"/>
                  </a:lnTo>
                  <a:lnTo>
                    <a:pt x="262" y="165"/>
                  </a:lnTo>
                  <a:lnTo>
                    <a:pt x="271" y="155"/>
                  </a:lnTo>
                  <a:lnTo>
                    <a:pt x="284" y="167"/>
                  </a:lnTo>
                  <a:lnTo>
                    <a:pt x="302" y="167"/>
                  </a:lnTo>
                  <a:lnTo>
                    <a:pt x="308" y="149"/>
                  </a:lnTo>
                  <a:lnTo>
                    <a:pt x="327" y="149"/>
                  </a:lnTo>
                  <a:lnTo>
                    <a:pt x="347" y="153"/>
                  </a:lnTo>
                  <a:lnTo>
                    <a:pt x="375" y="147"/>
                  </a:lnTo>
                  <a:lnTo>
                    <a:pt x="386" y="137"/>
                  </a:lnTo>
                  <a:lnTo>
                    <a:pt x="400" y="137"/>
                  </a:lnTo>
                  <a:lnTo>
                    <a:pt x="407" y="152"/>
                  </a:lnTo>
                  <a:lnTo>
                    <a:pt x="417" y="161"/>
                  </a:lnTo>
                  <a:lnTo>
                    <a:pt x="434" y="161"/>
                  </a:lnTo>
                  <a:lnTo>
                    <a:pt x="439" y="168"/>
                  </a:lnTo>
                  <a:lnTo>
                    <a:pt x="454" y="153"/>
                  </a:lnTo>
                  <a:lnTo>
                    <a:pt x="475" y="147"/>
                  </a:lnTo>
                  <a:lnTo>
                    <a:pt x="485" y="155"/>
                  </a:lnTo>
                  <a:lnTo>
                    <a:pt x="494" y="144"/>
                  </a:lnTo>
                  <a:lnTo>
                    <a:pt x="519" y="144"/>
                  </a:lnTo>
                  <a:lnTo>
                    <a:pt x="522" y="101"/>
                  </a:lnTo>
                  <a:lnTo>
                    <a:pt x="533" y="89"/>
                  </a:lnTo>
                  <a:lnTo>
                    <a:pt x="539" y="84"/>
                  </a:lnTo>
                  <a:lnTo>
                    <a:pt x="539" y="68"/>
                  </a:lnTo>
                  <a:lnTo>
                    <a:pt x="551" y="61"/>
                  </a:lnTo>
                  <a:lnTo>
                    <a:pt x="531" y="41"/>
                  </a:lnTo>
                  <a:lnTo>
                    <a:pt x="541" y="32"/>
                  </a:lnTo>
                  <a:lnTo>
                    <a:pt x="558" y="40"/>
                  </a:lnTo>
                  <a:lnTo>
                    <a:pt x="590" y="8"/>
                  </a:lnTo>
                  <a:lnTo>
                    <a:pt x="599" y="0"/>
                  </a:lnTo>
                  <a:lnTo>
                    <a:pt x="606" y="2"/>
                  </a:lnTo>
                  <a:lnTo>
                    <a:pt x="623" y="22"/>
                  </a:lnTo>
                  <a:lnTo>
                    <a:pt x="619" y="32"/>
                  </a:lnTo>
                  <a:lnTo>
                    <a:pt x="627" y="36"/>
                  </a:lnTo>
                  <a:lnTo>
                    <a:pt x="630" y="49"/>
                  </a:lnTo>
                  <a:lnTo>
                    <a:pt x="618" y="60"/>
                  </a:lnTo>
                  <a:lnTo>
                    <a:pt x="618" y="79"/>
                  </a:lnTo>
                  <a:lnTo>
                    <a:pt x="602" y="83"/>
                  </a:lnTo>
                  <a:lnTo>
                    <a:pt x="602" y="93"/>
                  </a:lnTo>
                  <a:lnTo>
                    <a:pt x="590" y="105"/>
                  </a:lnTo>
                  <a:lnTo>
                    <a:pt x="590" y="119"/>
                  </a:lnTo>
                  <a:lnTo>
                    <a:pt x="599" y="128"/>
                  </a:lnTo>
                  <a:lnTo>
                    <a:pt x="599" y="141"/>
                  </a:lnTo>
                  <a:lnTo>
                    <a:pt x="603" y="156"/>
                  </a:lnTo>
                  <a:lnTo>
                    <a:pt x="598" y="168"/>
                  </a:lnTo>
                  <a:lnTo>
                    <a:pt x="603" y="175"/>
                  </a:lnTo>
                  <a:lnTo>
                    <a:pt x="614" y="161"/>
                  </a:lnTo>
                  <a:lnTo>
                    <a:pt x="621" y="144"/>
                  </a:lnTo>
                  <a:lnTo>
                    <a:pt x="635" y="140"/>
                  </a:lnTo>
                  <a:lnTo>
                    <a:pt x="653" y="148"/>
                  </a:lnTo>
                  <a:lnTo>
                    <a:pt x="662" y="157"/>
                  </a:lnTo>
                  <a:lnTo>
                    <a:pt x="677" y="144"/>
                  </a:lnTo>
                  <a:lnTo>
                    <a:pt x="683" y="152"/>
                  </a:lnTo>
                  <a:lnTo>
                    <a:pt x="687" y="161"/>
                  </a:lnTo>
                  <a:lnTo>
                    <a:pt x="701" y="160"/>
                  </a:lnTo>
                  <a:lnTo>
                    <a:pt x="710" y="152"/>
                  </a:lnTo>
                  <a:lnTo>
                    <a:pt x="723" y="152"/>
                  </a:lnTo>
                  <a:lnTo>
                    <a:pt x="738" y="147"/>
                  </a:lnTo>
                  <a:lnTo>
                    <a:pt x="738" y="136"/>
                  </a:lnTo>
                  <a:lnTo>
                    <a:pt x="729" y="127"/>
                  </a:lnTo>
                  <a:lnTo>
                    <a:pt x="737" y="111"/>
                  </a:lnTo>
                  <a:lnTo>
                    <a:pt x="755" y="121"/>
                  </a:lnTo>
                  <a:lnTo>
                    <a:pt x="761" y="115"/>
                  </a:lnTo>
                  <a:lnTo>
                    <a:pt x="767" y="121"/>
                  </a:lnTo>
                  <a:lnTo>
                    <a:pt x="777" y="112"/>
                  </a:lnTo>
                  <a:lnTo>
                    <a:pt x="787" y="116"/>
                  </a:lnTo>
                  <a:lnTo>
                    <a:pt x="793" y="124"/>
                  </a:lnTo>
                  <a:lnTo>
                    <a:pt x="790" y="135"/>
                  </a:lnTo>
                  <a:lnTo>
                    <a:pt x="799" y="147"/>
                  </a:lnTo>
                  <a:lnTo>
                    <a:pt x="811" y="143"/>
                  </a:lnTo>
                  <a:lnTo>
                    <a:pt x="830" y="151"/>
                  </a:lnTo>
                  <a:lnTo>
                    <a:pt x="843" y="164"/>
                  </a:lnTo>
                  <a:lnTo>
                    <a:pt x="857" y="156"/>
                  </a:lnTo>
                  <a:lnTo>
                    <a:pt x="873" y="163"/>
                  </a:lnTo>
                  <a:lnTo>
                    <a:pt x="882" y="153"/>
                  </a:lnTo>
                  <a:lnTo>
                    <a:pt x="891" y="156"/>
                  </a:lnTo>
                  <a:lnTo>
                    <a:pt x="897" y="163"/>
                  </a:lnTo>
                  <a:lnTo>
                    <a:pt x="906" y="160"/>
                  </a:lnTo>
                  <a:lnTo>
                    <a:pt x="912" y="148"/>
                  </a:lnTo>
                  <a:lnTo>
                    <a:pt x="921" y="148"/>
                  </a:lnTo>
                  <a:lnTo>
                    <a:pt x="942" y="163"/>
                  </a:lnTo>
                  <a:lnTo>
                    <a:pt x="962" y="173"/>
                  </a:lnTo>
                  <a:lnTo>
                    <a:pt x="985" y="181"/>
                  </a:lnTo>
                  <a:lnTo>
                    <a:pt x="1016" y="187"/>
                  </a:lnTo>
                  <a:lnTo>
                    <a:pt x="1016" y="200"/>
                  </a:lnTo>
                  <a:lnTo>
                    <a:pt x="997" y="209"/>
                  </a:lnTo>
                  <a:lnTo>
                    <a:pt x="997" y="228"/>
                  </a:lnTo>
                  <a:lnTo>
                    <a:pt x="988" y="252"/>
                  </a:lnTo>
                  <a:lnTo>
                    <a:pt x="969" y="268"/>
                  </a:lnTo>
                  <a:lnTo>
                    <a:pt x="956" y="288"/>
                  </a:lnTo>
                  <a:lnTo>
                    <a:pt x="944" y="300"/>
                  </a:lnTo>
                  <a:lnTo>
                    <a:pt x="929" y="300"/>
                  </a:lnTo>
                  <a:lnTo>
                    <a:pt x="914" y="313"/>
                  </a:lnTo>
                  <a:lnTo>
                    <a:pt x="914" y="336"/>
                  </a:lnTo>
                  <a:lnTo>
                    <a:pt x="925" y="354"/>
                  </a:lnTo>
                  <a:lnTo>
                    <a:pt x="920" y="374"/>
                  </a:lnTo>
                  <a:lnTo>
                    <a:pt x="910" y="383"/>
                  </a:lnTo>
                  <a:lnTo>
                    <a:pt x="910" y="390"/>
                  </a:lnTo>
                  <a:lnTo>
                    <a:pt x="920" y="399"/>
                  </a:lnTo>
                  <a:lnTo>
                    <a:pt x="909" y="410"/>
                  </a:lnTo>
                  <a:lnTo>
                    <a:pt x="898" y="419"/>
                  </a:lnTo>
                  <a:lnTo>
                    <a:pt x="882" y="416"/>
                  </a:lnTo>
                  <a:lnTo>
                    <a:pt x="866" y="427"/>
                  </a:lnTo>
                  <a:lnTo>
                    <a:pt x="867" y="435"/>
                  </a:lnTo>
                  <a:lnTo>
                    <a:pt x="874" y="442"/>
                  </a:lnTo>
                  <a:lnTo>
                    <a:pt x="865" y="452"/>
                  </a:lnTo>
                  <a:lnTo>
                    <a:pt x="858" y="459"/>
                  </a:lnTo>
                  <a:lnTo>
                    <a:pt x="847" y="443"/>
                  </a:lnTo>
                  <a:lnTo>
                    <a:pt x="835" y="443"/>
                  </a:lnTo>
                  <a:lnTo>
                    <a:pt x="826" y="458"/>
                  </a:lnTo>
                  <a:lnTo>
                    <a:pt x="822" y="475"/>
                  </a:lnTo>
                  <a:lnTo>
                    <a:pt x="807" y="482"/>
                  </a:lnTo>
                  <a:lnTo>
                    <a:pt x="790" y="482"/>
                  </a:lnTo>
                  <a:lnTo>
                    <a:pt x="785" y="476"/>
                  </a:lnTo>
                  <a:lnTo>
                    <a:pt x="778" y="488"/>
                  </a:lnTo>
                  <a:lnTo>
                    <a:pt x="778" y="504"/>
                  </a:lnTo>
                  <a:lnTo>
                    <a:pt x="771" y="511"/>
                  </a:lnTo>
                  <a:lnTo>
                    <a:pt x="759" y="523"/>
                  </a:lnTo>
                  <a:lnTo>
                    <a:pt x="771" y="539"/>
                  </a:lnTo>
                  <a:lnTo>
                    <a:pt x="791" y="554"/>
                  </a:lnTo>
                  <a:lnTo>
                    <a:pt x="805" y="554"/>
                  </a:lnTo>
                  <a:lnTo>
                    <a:pt x="814" y="570"/>
                  </a:lnTo>
                  <a:lnTo>
                    <a:pt x="826" y="559"/>
                  </a:lnTo>
                  <a:lnTo>
                    <a:pt x="830" y="574"/>
                  </a:lnTo>
                  <a:lnTo>
                    <a:pt x="826" y="587"/>
                  </a:lnTo>
                  <a:lnTo>
                    <a:pt x="815" y="607"/>
                  </a:lnTo>
                  <a:lnTo>
                    <a:pt x="815" y="618"/>
                  </a:lnTo>
                  <a:lnTo>
                    <a:pt x="794" y="622"/>
                  </a:lnTo>
                  <a:lnTo>
                    <a:pt x="783" y="634"/>
                  </a:lnTo>
                  <a:lnTo>
                    <a:pt x="765" y="627"/>
                  </a:lnTo>
                  <a:lnTo>
                    <a:pt x="765" y="615"/>
                  </a:lnTo>
                  <a:lnTo>
                    <a:pt x="754" y="606"/>
                  </a:lnTo>
                  <a:lnTo>
                    <a:pt x="739" y="598"/>
                  </a:lnTo>
                  <a:lnTo>
                    <a:pt x="726" y="594"/>
                  </a:lnTo>
                  <a:lnTo>
                    <a:pt x="707" y="609"/>
                  </a:lnTo>
                  <a:lnTo>
                    <a:pt x="710" y="626"/>
                  </a:lnTo>
                  <a:lnTo>
                    <a:pt x="719" y="634"/>
                  </a:lnTo>
                  <a:lnTo>
                    <a:pt x="722" y="658"/>
                  </a:lnTo>
                  <a:lnTo>
                    <a:pt x="733" y="677"/>
                  </a:lnTo>
                  <a:lnTo>
                    <a:pt x="755" y="678"/>
                  </a:lnTo>
                  <a:lnTo>
                    <a:pt x="765" y="673"/>
                  </a:lnTo>
                  <a:lnTo>
                    <a:pt x="786" y="679"/>
                  </a:lnTo>
                  <a:lnTo>
                    <a:pt x="793" y="698"/>
                  </a:lnTo>
                  <a:lnTo>
                    <a:pt x="793" y="715"/>
                  </a:lnTo>
                  <a:lnTo>
                    <a:pt x="782" y="715"/>
                  </a:lnTo>
                  <a:lnTo>
                    <a:pt x="775" y="707"/>
                  </a:lnTo>
                  <a:lnTo>
                    <a:pt x="761" y="709"/>
                  </a:lnTo>
                  <a:lnTo>
                    <a:pt x="761" y="715"/>
                  </a:lnTo>
                  <a:lnTo>
                    <a:pt x="747" y="719"/>
                  </a:lnTo>
                  <a:lnTo>
                    <a:pt x="729" y="738"/>
                  </a:lnTo>
                  <a:lnTo>
                    <a:pt x="729" y="747"/>
                  </a:lnTo>
                  <a:lnTo>
                    <a:pt x="717" y="763"/>
                  </a:lnTo>
                  <a:lnTo>
                    <a:pt x="717" y="779"/>
                  </a:lnTo>
                  <a:lnTo>
                    <a:pt x="707" y="779"/>
                  </a:lnTo>
                  <a:lnTo>
                    <a:pt x="695" y="801"/>
                  </a:lnTo>
                  <a:lnTo>
                    <a:pt x="694" y="814"/>
                  </a:lnTo>
                  <a:lnTo>
                    <a:pt x="679" y="821"/>
                  </a:lnTo>
                  <a:lnTo>
                    <a:pt x="674" y="830"/>
                  </a:lnTo>
                  <a:lnTo>
                    <a:pt x="674" y="830"/>
                  </a:lnTo>
                  <a:close/>
                </a:path>
              </a:pathLst>
            </a:custGeom>
            <a:solidFill>
              <a:srgbClr val="456EA9"/>
            </a:solidFill>
            <a:ln w="7938" cap="flat">
              <a:solidFill>
                <a:sysClr val="window" lastClr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6" name="Freeform 7">
              <a:extLst>
                <a:ext uri="{FF2B5EF4-FFF2-40B4-BE49-F238E27FC236}">
                  <a16:creationId xmlns:a16="http://schemas.microsoft.com/office/drawing/2014/main" id="{FF385AA7-756F-D26B-1924-2D2C38CB430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41" y="1270"/>
              <a:ext cx="1300" cy="1461"/>
            </a:xfrm>
            <a:custGeom>
              <a:avLst/>
              <a:gdLst>
                <a:gd name="T0" fmla="*/ 280 w 974"/>
                <a:gd name="T1" fmla="*/ 1012 h 1094"/>
                <a:gd name="T2" fmla="*/ 396 w 974"/>
                <a:gd name="T3" fmla="*/ 1011 h 1094"/>
                <a:gd name="T4" fmla="*/ 454 w 974"/>
                <a:gd name="T5" fmla="*/ 999 h 1094"/>
                <a:gd name="T6" fmla="*/ 504 w 974"/>
                <a:gd name="T7" fmla="*/ 949 h 1094"/>
                <a:gd name="T8" fmla="*/ 481 w 974"/>
                <a:gd name="T9" fmla="*/ 890 h 1094"/>
                <a:gd name="T10" fmla="*/ 519 w 974"/>
                <a:gd name="T11" fmla="*/ 882 h 1094"/>
                <a:gd name="T12" fmla="*/ 602 w 974"/>
                <a:gd name="T13" fmla="*/ 897 h 1094"/>
                <a:gd name="T14" fmla="*/ 692 w 974"/>
                <a:gd name="T15" fmla="*/ 807 h 1094"/>
                <a:gd name="T16" fmla="*/ 812 w 974"/>
                <a:gd name="T17" fmla="*/ 780 h 1094"/>
                <a:gd name="T18" fmla="*/ 953 w 974"/>
                <a:gd name="T19" fmla="*/ 767 h 1094"/>
                <a:gd name="T20" fmla="*/ 959 w 974"/>
                <a:gd name="T21" fmla="*/ 664 h 1094"/>
                <a:gd name="T22" fmla="*/ 970 w 974"/>
                <a:gd name="T23" fmla="*/ 559 h 1094"/>
                <a:gd name="T24" fmla="*/ 927 w 974"/>
                <a:gd name="T25" fmla="*/ 500 h 1094"/>
                <a:gd name="T26" fmla="*/ 916 w 974"/>
                <a:gd name="T27" fmla="*/ 435 h 1094"/>
                <a:gd name="T28" fmla="*/ 902 w 974"/>
                <a:gd name="T29" fmla="*/ 374 h 1094"/>
                <a:gd name="T30" fmla="*/ 913 w 974"/>
                <a:gd name="T31" fmla="*/ 300 h 1094"/>
                <a:gd name="T32" fmla="*/ 865 w 974"/>
                <a:gd name="T33" fmla="*/ 281 h 1094"/>
                <a:gd name="T34" fmla="*/ 888 w 974"/>
                <a:gd name="T35" fmla="*/ 220 h 1094"/>
                <a:gd name="T36" fmla="*/ 873 w 974"/>
                <a:gd name="T37" fmla="*/ 151 h 1094"/>
                <a:gd name="T38" fmla="*/ 863 w 974"/>
                <a:gd name="T39" fmla="*/ 107 h 1094"/>
                <a:gd name="T40" fmla="*/ 826 w 974"/>
                <a:gd name="T41" fmla="*/ 113 h 1094"/>
                <a:gd name="T42" fmla="*/ 851 w 974"/>
                <a:gd name="T43" fmla="*/ 184 h 1094"/>
                <a:gd name="T44" fmla="*/ 809 w 974"/>
                <a:gd name="T45" fmla="*/ 112 h 1094"/>
                <a:gd name="T46" fmla="*/ 791 w 974"/>
                <a:gd name="T47" fmla="*/ 109 h 1094"/>
                <a:gd name="T48" fmla="*/ 753 w 974"/>
                <a:gd name="T49" fmla="*/ 200 h 1094"/>
                <a:gd name="T50" fmla="*/ 761 w 974"/>
                <a:gd name="T51" fmla="*/ 277 h 1094"/>
                <a:gd name="T52" fmla="*/ 814 w 974"/>
                <a:gd name="T53" fmla="*/ 334 h 1094"/>
                <a:gd name="T54" fmla="*/ 806 w 974"/>
                <a:gd name="T55" fmla="*/ 382 h 1094"/>
                <a:gd name="T56" fmla="*/ 769 w 974"/>
                <a:gd name="T57" fmla="*/ 294 h 1094"/>
                <a:gd name="T58" fmla="*/ 719 w 974"/>
                <a:gd name="T59" fmla="*/ 374 h 1094"/>
                <a:gd name="T60" fmla="*/ 661 w 974"/>
                <a:gd name="T61" fmla="*/ 428 h 1094"/>
                <a:gd name="T62" fmla="*/ 606 w 974"/>
                <a:gd name="T63" fmla="*/ 379 h 1094"/>
                <a:gd name="T64" fmla="*/ 702 w 974"/>
                <a:gd name="T65" fmla="*/ 348 h 1094"/>
                <a:gd name="T66" fmla="*/ 722 w 974"/>
                <a:gd name="T67" fmla="*/ 206 h 1094"/>
                <a:gd name="T68" fmla="*/ 766 w 974"/>
                <a:gd name="T69" fmla="*/ 68 h 1094"/>
                <a:gd name="T70" fmla="*/ 687 w 974"/>
                <a:gd name="T71" fmla="*/ 64 h 1094"/>
                <a:gd name="T72" fmla="*/ 631 w 974"/>
                <a:gd name="T73" fmla="*/ 137 h 1094"/>
                <a:gd name="T74" fmla="*/ 622 w 974"/>
                <a:gd name="T75" fmla="*/ 218 h 1094"/>
                <a:gd name="T76" fmla="*/ 599 w 974"/>
                <a:gd name="T77" fmla="*/ 265 h 1094"/>
                <a:gd name="T78" fmla="*/ 548 w 974"/>
                <a:gd name="T79" fmla="*/ 236 h 1094"/>
                <a:gd name="T80" fmla="*/ 550 w 974"/>
                <a:gd name="T81" fmla="*/ 290 h 1094"/>
                <a:gd name="T82" fmla="*/ 480 w 974"/>
                <a:gd name="T83" fmla="*/ 348 h 1094"/>
                <a:gd name="T84" fmla="*/ 375 w 974"/>
                <a:gd name="T85" fmla="*/ 408 h 1094"/>
                <a:gd name="T86" fmla="*/ 311 w 974"/>
                <a:gd name="T87" fmla="*/ 456 h 1094"/>
                <a:gd name="T88" fmla="*/ 265 w 974"/>
                <a:gd name="T89" fmla="*/ 553 h 1094"/>
                <a:gd name="T90" fmla="*/ 211 w 974"/>
                <a:gd name="T91" fmla="*/ 645 h 1094"/>
                <a:gd name="T92" fmla="*/ 177 w 974"/>
                <a:gd name="T93" fmla="*/ 721 h 1094"/>
                <a:gd name="T94" fmla="*/ 142 w 974"/>
                <a:gd name="T95" fmla="*/ 767 h 1094"/>
                <a:gd name="T96" fmla="*/ 82 w 974"/>
                <a:gd name="T97" fmla="*/ 786 h 1094"/>
                <a:gd name="T98" fmla="*/ 105 w 974"/>
                <a:gd name="T99" fmla="*/ 856 h 1094"/>
                <a:gd name="T100" fmla="*/ 68 w 974"/>
                <a:gd name="T101" fmla="*/ 899 h 1094"/>
                <a:gd name="T102" fmla="*/ 36 w 974"/>
                <a:gd name="T103" fmla="*/ 922 h 1094"/>
                <a:gd name="T104" fmla="*/ 76 w 974"/>
                <a:gd name="T105" fmla="*/ 959 h 1094"/>
                <a:gd name="T106" fmla="*/ 25 w 974"/>
                <a:gd name="T107" fmla="*/ 1013 h 1094"/>
                <a:gd name="T108" fmla="*/ 49 w 974"/>
                <a:gd name="T109" fmla="*/ 1052 h 1094"/>
                <a:gd name="T110" fmla="*/ 67 w 974"/>
                <a:gd name="T111" fmla="*/ 1084 h 1094"/>
                <a:gd name="T112" fmla="*/ 136 w 974"/>
                <a:gd name="T113" fmla="*/ 1049 h 1094"/>
                <a:gd name="T114" fmla="*/ 151 w 974"/>
                <a:gd name="T115" fmla="*/ 1002 h 1094"/>
                <a:gd name="T116" fmla="*/ 845 w 974"/>
                <a:gd name="T117" fmla="*/ 97 h 1094"/>
                <a:gd name="T118" fmla="*/ 830 w 974"/>
                <a:gd name="T119" fmla="*/ 22 h 1094"/>
                <a:gd name="T120" fmla="*/ 797 w 974"/>
                <a:gd name="T121" fmla="*/ 41 h 1094"/>
                <a:gd name="T122" fmla="*/ 751 w 974"/>
                <a:gd name="T123" fmla="*/ 22 h 10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74" h="1094">
                  <a:moveTo>
                    <a:pt x="190" y="1012"/>
                  </a:moveTo>
                  <a:cubicBezTo>
                    <a:pt x="213" y="1011"/>
                    <a:pt x="213" y="1011"/>
                    <a:pt x="213" y="1011"/>
                  </a:cubicBezTo>
                  <a:cubicBezTo>
                    <a:pt x="228" y="1016"/>
                    <a:pt x="228" y="1016"/>
                    <a:pt x="228" y="1016"/>
                  </a:cubicBezTo>
                  <a:cubicBezTo>
                    <a:pt x="239" y="1016"/>
                    <a:pt x="239" y="1016"/>
                    <a:pt x="239" y="1016"/>
                  </a:cubicBezTo>
                  <a:cubicBezTo>
                    <a:pt x="252" y="1022"/>
                    <a:pt x="252" y="1022"/>
                    <a:pt x="252" y="1022"/>
                  </a:cubicBezTo>
                  <a:cubicBezTo>
                    <a:pt x="265" y="1020"/>
                    <a:pt x="265" y="1020"/>
                    <a:pt x="265" y="1020"/>
                  </a:cubicBezTo>
                  <a:cubicBezTo>
                    <a:pt x="273" y="1012"/>
                    <a:pt x="273" y="1012"/>
                    <a:pt x="273" y="1012"/>
                  </a:cubicBezTo>
                  <a:cubicBezTo>
                    <a:pt x="280" y="1012"/>
                    <a:pt x="280" y="1012"/>
                    <a:pt x="280" y="1012"/>
                  </a:cubicBezTo>
                  <a:cubicBezTo>
                    <a:pt x="297" y="1021"/>
                    <a:pt x="297" y="1021"/>
                    <a:pt x="297" y="1021"/>
                  </a:cubicBezTo>
                  <a:cubicBezTo>
                    <a:pt x="315" y="1021"/>
                    <a:pt x="315" y="1021"/>
                    <a:pt x="315" y="1021"/>
                  </a:cubicBezTo>
                  <a:cubicBezTo>
                    <a:pt x="330" y="1018"/>
                    <a:pt x="330" y="1018"/>
                    <a:pt x="330" y="1018"/>
                  </a:cubicBezTo>
                  <a:cubicBezTo>
                    <a:pt x="342" y="1025"/>
                    <a:pt x="342" y="1025"/>
                    <a:pt x="342" y="1025"/>
                  </a:cubicBezTo>
                  <a:cubicBezTo>
                    <a:pt x="357" y="1021"/>
                    <a:pt x="357" y="1021"/>
                    <a:pt x="357" y="1021"/>
                  </a:cubicBezTo>
                  <a:cubicBezTo>
                    <a:pt x="373" y="1021"/>
                    <a:pt x="373" y="1021"/>
                    <a:pt x="373" y="1021"/>
                  </a:cubicBezTo>
                  <a:cubicBezTo>
                    <a:pt x="381" y="1010"/>
                    <a:pt x="381" y="1010"/>
                    <a:pt x="381" y="1010"/>
                  </a:cubicBezTo>
                  <a:cubicBezTo>
                    <a:pt x="396" y="1011"/>
                    <a:pt x="396" y="1011"/>
                    <a:pt x="396" y="1011"/>
                  </a:cubicBezTo>
                  <a:cubicBezTo>
                    <a:pt x="409" y="1019"/>
                    <a:pt x="409" y="1019"/>
                    <a:pt x="409" y="1019"/>
                  </a:cubicBezTo>
                  <a:cubicBezTo>
                    <a:pt x="426" y="1019"/>
                    <a:pt x="426" y="1019"/>
                    <a:pt x="426" y="1019"/>
                  </a:cubicBezTo>
                  <a:cubicBezTo>
                    <a:pt x="432" y="1031"/>
                    <a:pt x="432" y="1031"/>
                    <a:pt x="432" y="1031"/>
                  </a:cubicBezTo>
                  <a:cubicBezTo>
                    <a:pt x="444" y="1031"/>
                    <a:pt x="444" y="1031"/>
                    <a:pt x="444" y="1031"/>
                  </a:cubicBezTo>
                  <a:cubicBezTo>
                    <a:pt x="444" y="1023"/>
                    <a:pt x="444" y="1023"/>
                    <a:pt x="444" y="1023"/>
                  </a:cubicBezTo>
                  <a:cubicBezTo>
                    <a:pt x="448" y="1015"/>
                    <a:pt x="448" y="1015"/>
                    <a:pt x="448" y="1015"/>
                  </a:cubicBezTo>
                  <a:cubicBezTo>
                    <a:pt x="454" y="1008"/>
                    <a:pt x="454" y="1008"/>
                    <a:pt x="454" y="1008"/>
                  </a:cubicBezTo>
                  <a:cubicBezTo>
                    <a:pt x="454" y="999"/>
                    <a:pt x="454" y="999"/>
                    <a:pt x="454" y="999"/>
                  </a:cubicBezTo>
                  <a:cubicBezTo>
                    <a:pt x="460" y="998"/>
                    <a:pt x="460" y="998"/>
                    <a:pt x="460" y="998"/>
                  </a:cubicBezTo>
                  <a:cubicBezTo>
                    <a:pt x="467" y="991"/>
                    <a:pt x="467" y="991"/>
                    <a:pt x="467" y="991"/>
                  </a:cubicBezTo>
                  <a:cubicBezTo>
                    <a:pt x="470" y="984"/>
                    <a:pt x="470" y="984"/>
                    <a:pt x="470" y="984"/>
                  </a:cubicBezTo>
                  <a:cubicBezTo>
                    <a:pt x="470" y="973"/>
                    <a:pt x="470" y="973"/>
                    <a:pt x="470" y="973"/>
                  </a:cubicBezTo>
                  <a:cubicBezTo>
                    <a:pt x="479" y="963"/>
                    <a:pt x="479" y="963"/>
                    <a:pt x="479" y="963"/>
                  </a:cubicBezTo>
                  <a:cubicBezTo>
                    <a:pt x="486" y="956"/>
                    <a:pt x="486" y="956"/>
                    <a:pt x="486" y="956"/>
                  </a:cubicBezTo>
                  <a:cubicBezTo>
                    <a:pt x="499" y="954"/>
                    <a:pt x="499" y="954"/>
                    <a:pt x="499" y="954"/>
                  </a:cubicBezTo>
                  <a:cubicBezTo>
                    <a:pt x="504" y="949"/>
                    <a:pt x="504" y="949"/>
                    <a:pt x="504" y="949"/>
                  </a:cubicBezTo>
                  <a:cubicBezTo>
                    <a:pt x="504" y="940"/>
                    <a:pt x="504" y="940"/>
                    <a:pt x="504" y="940"/>
                  </a:cubicBezTo>
                  <a:cubicBezTo>
                    <a:pt x="494" y="934"/>
                    <a:pt x="494" y="934"/>
                    <a:pt x="494" y="934"/>
                  </a:cubicBezTo>
                  <a:cubicBezTo>
                    <a:pt x="491" y="927"/>
                    <a:pt x="491" y="927"/>
                    <a:pt x="491" y="927"/>
                  </a:cubicBezTo>
                  <a:cubicBezTo>
                    <a:pt x="484" y="920"/>
                    <a:pt x="484" y="920"/>
                    <a:pt x="484" y="920"/>
                  </a:cubicBezTo>
                  <a:cubicBezTo>
                    <a:pt x="475" y="916"/>
                    <a:pt x="475" y="916"/>
                    <a:pt x="475" y="916"/>
                  </a:cubicBezTo>
                  <a:cubicBezTo>
                    <a:pt x="475" y="908"/>
                    <a:pt x="475" y="908"/>
                    <a:pt x="475" y="908"/>
                  </a:cubicBezTo>
                  <a:cubicBezTo>
                    <a:pt x="486" y="903"/>
                    <a:pt x="486" y="903"/>
                    <a:pt x="486" y="903"/>
                  </a:cubicBezTo>
                  <a:cubicBezTo>
                    <a:pt x="481" y="890"/>
                    <a:pt x="481" y="890"/>
                    <a:pt x="481" y="890"/>
                  </a:cubicBezTo>
                  <a:cubicBezTo>
                    <a:pt x="482" y="879"/>
                    <a:pt x="482" y="879"/>
                    <a:pt x="482" y="879"/>
                  </a:cubicBezTo>
                  <a:cubicBezTo>
                    <a:pt x="490" y="871"/>
                    <a:pt x="490" y="871"/>
                    <a:pt x="490" y="871"/>
                  </a:cubicBezTo>
                  <a:cubicBezTo>
                    <a:pt x="496" y="861"/>
                    <a:pt x="496" y="861"/>
                    <a:pt x="496" y="861"/>
                  </a:cubicBezTo>
                  <a:cubicBezTo>
                    <a:pt x="506" y="854"/>
                    <a:pt x="506" y="854"/>
                    <a:pt x="506" y="854"/>
                  </a:cubicBezTo>
                  <a:cubicBezTo>
                    <a:pt x="517" y="865"/>
                    <a:pt x="517" y="865"/>
                    <a:pt x="517" y="865"/>
                  </a:cubicBezTo>
                  <a:cubicBezTo>
                    <a:pt x="510" y="871"/>
                    <a:pt x="510" y="871"/>
                    <a:pt x="510" y="871"/>
                  </a:cubicBezTo>
                  <a:cubicBezTo>
                    <a:pt x="510" y="879"/>
                    <a:pt x="510" y="879"/>
                    <a:pt x="510" y="879"/>
                  </a:cubicBezTo>
                  <a:cubicBezTo>
                    <a:pt x="519" y="882"/>
                    <a:pt x="519" y="882"/>
                    <a:pt x="519" y="882"/>
                  </a:cubicBezTo>
                  <a:cubicBezTo>
                    <a:pt x="531" y="886"/>
                    <a:pt x="531" y="886"/>
                    <a:pt x="531" y="886"/>
                  </a:cubicBezTo>
                  <a:cubicBezTo>
                    <a:pt x="538" y="889"/>
                    <a:pt x="538" y="889"/>
                    <a:pt x="538" y="889"/>
                  </a:cubicBezTo>
                  <a:cubicBezTo>
                    <a:pt x="547" y="895"/>
                    <a:pt x="547" y="895"/>
                    <a:pt x="547" y="895"/>
                  </a:cubicBezTo>
                  <a:cubicBezTo>
                    <a:pt x="558" y="895"/>
                    <a:pt x="558" y="895"/>
                    <a:pt x="558" y="895"/>
                  </a:cubicBezTo>
                  <a:cubicBezTo>
                    <a:pt x="565" y="888"/>
                    <a:pt x="565" y="888"/>
                    <a:pt x="565" y="888"/>
                  </a:cubicBezTo>
                  <a:cubicBezTo>
                    <a:pt x="576" y="894"/>
                    <a:pt x="576" y="894"/>
                    <a:pt x="576" y="894"/>
                  </a:cubicBezTo>
                  <a:cubicBezTo>
                    <a:pt x="586" y="897"/>
                    <a:pt x="586" y="897"/>
                    <a:pt x="586" y="897"/>
                  </a:cubicBezTo>
                  <a:cubicBezTo>
                    <a:pt x="602" y="897"/>
                    <a:pt x="602" y="897"/>
                    <a:pt x="602" y="897"/>
                  </a:cubicBezTo>
                  <a:cubicBezTo>
                    <a:pt x="616" y="891"/>
                    <a:pt x="616" y="891"/>
                    <a:pt x="616" y="891"/>
                  </a:cubicBezTo>
                  <a:cubicBezTo>
                    <a:pt x="626" y="880"/>
                    <a:pt x="626" y="880"/>
                    <a:pt x="626" y="880"/>
                  </a:cubicBezTo>
                  <a:cubicBezTo>
                    <a:pt x="633" y="872"/>
                    <a:pt x="633" y="872"/>
                    <a:pt x="633" y="872"/>
                  </a:cubicBezTo>
                  <a:cubicBezTo>
                    <a:pt x="651" y="861"/>
                    <a:pt x="651" y="861"/>
                    <a:pt x="651" y="861"/>
                  </a:cubicBezTo>
                  <a:cubicBezTo>
                    <a:pt x="653" y="847"/>
                    <a:pt x="653" y="847"/>
                    <a:pt x="653" y="847"/>
                  </a:cubicBezTo>
                  <a:cubicBezTo>
                    <a:pt x="672" y="834"/>
                    <a:pt x="672" y="834"/>
                    <a:pt x="672" y="834"/>
                  </a:cubicBezTo>
                  <a:cubicBezTo>
                    <a:pt x="694" y="828"/>
                    <a:pt x="694" y="828"/>
                    <a:pt x="694" y="828"/>
                  </a:cubicBezTo>
                  <a:cubicBezTo>
                    <a:pt x="692" y="807"/>
                    <a:pt x="692" y="807"/>
                    <a:pt x="692" y="807"/>
                  </a:cubicBezTo>
                  <a:cubicBezTo>
                    <a:pt x="700" y="787"/>
                    <a:pt x="700" y="787"/>
                    <a:pt x="700" y="787"/>
                  </a:cubicBezTo>
                  <a:cubicBezTo>
                    <a:pt x="708" y="772"/>
                    <a:pt x="708" y="772"/>
                    <a:pt x="708" y="772"/>
                  </a:cubicBezTo>
                  <a:cubicBezTo>
                    <a:pt x="729" y="769"/>
                    <a:pt x="729" y="769"/>
                    <a:pt x="729" y="769"/>
                  </a:cubicBezTo>
                  <a:cubicBezTo>
                    <a:pt x="745" y="776"/>
                    <a:pt x="745" y="776"/>
                    <a:pt x="745" y="776"/>
                  </a:cubicBezTo>
                  <a:cubicBezTo>
                    <a:pt x="768" y="776"/>
                    <a:pt x="768" y="776"/>
                    <a:pt x="768" y="776"/>
                  </a:cubicBezTo>
                  <a:cubicBezTo>
                    <a:pt x="774" y="784"/>
                    <a:pt x="774" y="784"/>
                    <a:pt x="774" y="784"/>
                  </a:cubicBezTo>
                  <a:cubicBezTo>
                    <a:pt x="795" y="787"/>
                    <a:pt x="795" y="787"/>
                    <a:pt x="795" y="787"/>
                  </a:cubicBezTo>
                  <a:cubicBezTo>
                    <a:pt x="812" y="780"/>
                    <a:pt x="812" y="780"/>
                    <a:pt x="812" y="780"/>
                  </a:cubicBezTo>
                  <a:cubicBezTo>
                    <a:pt x="828" y="796"/>
                    <a:pt x="828" y="796"/>
                    <a:pt x="828" y="796"/>
                  </a:cubicBezTo>
                  <a:cubicBezTo>
                    <a:pt x="840" y="792"/>
                    <a:pt x="840" y="792"/>
                    <a:pt x="840" y="792"/>
                  </a:cubicBezTo>
                  <a:cubicBezTo>
                    <a:pt x="858" y="801"/>
                    <a:pt x="858" y="801"/>
                    <a:pt x="858" y="801"/>
                  </a:cubicBezTo>
                  <a:cubicBezTo>
                    <a:pt x="863" y="785"/>
                    <a:pt x="863" y="785"/>
                    <a:pt x="863" y="785"/>
                  </a:cubicBezTo>
                  <a:cubicBezTo>
                    <a:pt x="889" y="774"/>
                    <a:pt x="889" y="774"/>
                    <a:pt x="889" y="774"/>
                  </a:cubicBezTo>
                  <a:cubicBezTo>
                    <a:pt x="914" y="792"/>
                    <a:pt x="914" y="792"/>
                    <a:pt x="914" y="792"/>
                  </a:cubicBezTo>
                  <a:cubicBezTo>
                    <a:pt x="929" y="777"/>
                    <a:pt x="929" y="777"/>
                    <a:pt x="929" y="777"/>
                  </a:cubicBezTo>
                  <a:cubicBezTo>
                    <a:pt x="953" y="767"/>
                    <a:pt x="953" y="767"/>
                    <a:pt x="953" y="767"/>
                  </a:cubicBezTo>
                  <a:cubicBezTo>
                    <a:pt x="963" y="750"/>
                    <a:pt x="963" y="750"/>
                    <a:pt x="963" y="750"/>
                  </a:cubicBezTo>
                  <a:cubicBezTo>
                    <a:pt x="944" y="742"/>
                    <a:pt x="944" y="742"/>
                    <a:pt x="944" y="742"/>
                  </a:cubicBezTo>
                  <a:cubicBezTo>
                    <a:pt x="927" y="731"/>
                    <a:pt x="927" y="731"/>
                    <a:pt x="927" y="731"/>
                  </a:cubicBezTo>
                  <a:cubicBezTo>
                    <a:pt x="927" y="710"/>
                    <a:pt x="927" y="710"/>
                    <a:pt x="927" y="710"/>
                  </a:cubicBezTo>
                  <a:cubicBezTo>
                    <a:pt x="943" y="695"/>
                    <a:pt x="943" y="695"/>
                    <a:pt x="943" y="695"/>
                  </a:cubicBezTo>
                  <a:cubicBezTo>
                    <a:pt x="948" y="689"/>
                    <a:pt x="948" y="689"/>
                    <a:pt x="948" y="689"/>
                  </a:cubicBezTo>
                  <a:cubicBezTo>
                    <a:pt x="949" y="674"/>
                    <a:pt x="949" y="674"/>
                    <a:pt x="949" y="674"/>
                  </a:cubicBezTo>
                  <a:cubicBezTo>
                    <a:pt x="959" y="664"/>
                    <a:pt x="959" y="664"/>
                    <a:pt x="959" y="664"/>
                  </a:cubicBezTo>
                  <a:cubicBezTo>
                    <a:pt x="959" y="648"/>
                    <a:pt x="959" y="648"/>
                    <a:pt x="959" y="648"/>
                  </a:cubicBezTo>
                  <a:cubicBezTo>
                    <a:pt x="949" y="634"/>
                    <a:pt x="949" y="634"/>
                    <a:pt x="949" y="634"/>
                  </a:cubicBezTo>
                  <a:cubicBezTo>
                    <a:pt x="956" y="621"/>
                    <a:pt x="956" y="621"/>
                    <a:pt x="956" y="621"/>
                  </a:cubicBezTo>
                  <a:cubicBezTo>
                    <a:pt x="965" y="609"/>
                    <a:pt x="965" y="609"/>
                    <a:pt x="965" y="609"/>
                  </a:cubicBezTo>
                  <a:cubicBezTo>
                    <a:pt x="974" y="600"/>
                    <a:pt x="974" y="600"/>
                    <a:pt x="974" y="600"/>
                  </a:cubicBezTo>
                  <a:cubicBezTo>
                    <a:pt x="970" y="589"/>
                    <a:pt x="970" y="589"/>
                    <a:pt x="970" y="589"/>
                  </a:cubicBezTo>
                  <a:cubicBezTo>
                    <a:pt x="972" y="575"/>
                    <a:pt x="972" y="575"/>
                    <a:pt x="972" y="575"/>
                  </a:cubicBezTo>
                  <a:cubicBezTo>
                    <a:pt x="970" y="559"/>
                    <a:pt x="970" y="559"/>
                    <a:pt x="970" y="559"/>
                  </a:cubicBezTo>
                  <a:cubicBezTo>
                    <a:pt x="962" y="567"/>
                    <a:pt x="962" y="567"/>
                    <a:pt x="962" y="567"/>
                  </a:cubicBezTo>
                  <a:cubicBezTo>
                    <a:pt x="954" y="559"/>
                    <a:pt x="954" y="559"/>
                    <a:pt x="954" y="559"/>
                  </a:cubicBezTo>
                  <a:cubicBezTo>
                    <a:pt x="939" y="556"/>
                    <a:pt x="939" y="556"/>
                    <a:pt x="939" y="556"/>
                  </a:cubicBezTo>
                  <a:cubicBezTo>
                    <a:pt x="936" y="542"/>
                    <a:pt x="936" y="542"/>
                    <a:pt x="936" y="542"/>
                  </a:cubicBezTo>
                  <a:cubicBezTo>
                    <a:pt x="942" y="535"/>
                    <a:pt x="942" y="535"/>
                    <a:pt x="942" y="535"/>
                  </a:cubicBezTo>
                  <a:cubicBezTo>
                    <a:pt x="941" y="520"/>
                    <a:pt x="941" y="520"/>
                    <a:pt x="941" y="520"/>
                  </a:cubicBezTo>
                  <a:cubicBezTo>
                    <a:pt x="935" y="508"/>
                    <a:pt x="935" y="508"/>
                    <a:pt x="935" y="508"/>
                  </a:cubicBezTo>
                  <a:cubicBezTo>
                    <a:pt x="927" y="500"/>
                    <a:pt x="927" y="500"/>
                    <a:pt x="927" y="500"/>
                  </a:cubicBezTo>
                  <a:cubicBezTo>
                    <a:pt x="919" y="500"/>
                    <a:pt x="919" y="500"/>
                    <a:pt x="919" y="500"/>
                  </a:cubicBezTo>
                  <a:cubicBezTo>
                    <a:pt x="912" y="486"/>
                    <a:pt x="912" y="486"/>
                    <a:pt x="912" y="486"/>
                  </a:cubicBezTo>
                  <a:cubicBezTo>
                    <a:pt x="918" y="482"/>
                    <a:pt x="918" y="482"/>
                    <a:pt x="918" y="482"/>
                  </a:cubicBezTo>
                  <a:cubicBezTo>
                    <a:pt x="918" y="470"/>
                    <a:pt x="918" y="470"/>
                    <a:pt x="918" y="470"/>
                  </a:cubicBezTo>
                  <a:cubicBezTo>
                    <a:pt x="913" y="462"/>
                    <a:pt x="913" y="462"/>
                    <a:pt x="913" y="462"/>
                  </a:cubicBezTo>
                  <a:cubicBezTo>
                    <a:pt x="913" y="455"/>
                    <a:pt x="913" y="455"/>
                    <a:pt x="913" y="455"/>
                  </a:cubicBezTo>
                  <a:cubicBezTo>
                    <a:pt x="922" y="447"/>
                    <a:pt x="922" y="447"/>
                    <a:pt x="922" y="447"/>
                  </a:cubicBezTo>
                  <a:cubicBezTo>
                    <a:pt x="916" y="435"/>
                    <a:pt x="916" y="435"/>
                    <a:pt x="916" y="435"/>
                  </a:cubicBezTo>
                  <a:cubicBezTo>
                    <a:pt x="902" y="426"/>
                    <a:pt x="902" y="426"/>
                    <a:pt x="902" y="426"/>
                  </a:cubicBezTo>
                  <a:cubicBezTo>
                    <a:pt x="902" y="417"/>
                    <a:pt x="902" y="417"/>
                    <a:pt x="902" y="417"/>
                  </a:cubicBezTo>
                  <a:cubicBezTo>
                    <a:pt x="896" y="411"/>
                    <a:pt x="896" y="411"/>
                    <a:pt x="896" y="411"/>
                  </a:cubicBezTo>
                  <a:cubicBezTo>
                    <a:pt x="901" y="401"/>
                    <a:pt x="901" y="401"/>
                    <a:pt x="901" y="401"/>
                  </a:cubicBezTo>
                  <a:cubicBezTo>
                    <a:pt x="899" y="389"/>
                    <a:pt x="899" y="389"/>
                    <a:pt x="899" y="389"/>
                  </a:cubicBezTo>
                  <a:cubicBezTo>
                    <a:pt x="893" y="382"/>
                    <a:pt x="893" y="382"/>
                    <a:pt x="893" y="382"/>
                  </a:cubicBezTo>
                  <a:cubicBezTo>
                    <a:pt x="893" y="372"/>
                    <a:pt x="893" y="372"/>
                    <a:pt x="893" y="372"/>
                  </a:cubicBezTo>
                  <a:cubicBezTo>
                    <a:pt x="902" y="374"/>
                    <a:pt x="902" y="374"/>
                    <a:pt x="902" y="374"/>
                  </a:cubicBezTo>
                  <a:cubicBezTo>
                    <a:pt x="905" y="365"/>
                    <a:pt x="905" y="365"/>
                    <a:pt x="905" y="365"/>
                  </a:cubicBezTo>
                  <a:cubicBezTo>
                    <a:pt x="912" y="358"/>
                    <a:pt x="912" y="358"/>
                    <a:pt x="912" y="358"/>
                  </a:cubicBezTo>
                  <a:cubicBezTo>
                    <a:pt x="916" y="346"/>
                    <a:pt x="916" y="346"/>
                    <a:pt x="916" y="346"/>
                  </a:cubicBezTo>
                  <a:cubicBezTo>
                    <a:pt x="911" y="336"/>
                    <a:pt x="911" y="336"/>
                    <a:pt x="911" y="336"/>
                  </a:cubicBezTo>
                  <a:cubicBezTo>
                    <a:pt x="916" y="336"/>
                    <a:pt x="916" y="336"/>
                    <a:pt x="916" y="336"/>
                  </a:cubicBezTo>
                  <a:cubicBezTo>
                    <a:pt x="920" y="326"/>
                    <a:pt x="920" y="326"/>
                    <a:pt x="920" y="326"/>
                  </a:cubicBezTo>
                  <a:cubicBezTo>
                    <a:pt x="913" y="311"/>
                    <a:pt x="913" y="311"/>
                    <a:pt x="913" y="311"/>
                  </a:cubicBezTo>
                  <a:cubicBezTo>
                    <a:pt x="913" y="300"/>
                    <a:pt x="913" y="300"/>
                    <a:pt x="913" y="300"/>
                  </a:cubicBezTo>
                  <a:cubicBezTo>
                    <a:pt x="903" y="298"/>
                    <a:pt x="903" y="298"/>
                    <a:pt x="903" y="298"/>
                  </a:cubicBezTo>
                  <a:cubicBezTo>
                    <a:pt x="903" y="285"/>
                    <a:pt x="903" y="285"/>
                    <a:pt x="903" y="285"/>
                  </a:cubicBezTo>
                  <a:cubicBezTo>
                    <a:pt x="895" y="293"/>
                    <a:pt x="895" y="293"/>
                    <a:pt x="895" y="293"/>
                  </a:cubicBezTo>
                  <a:cubicBezTo>
                    <a:pt x="891" y="289"/>
                    <a:pt x="891" y="289"/>
                    <a:pt x="891" y="289"/>
                  </a:cubicBezTo>
                  <a:cubicBezTo>
                    <a:pt x="883" y="296"/>
                    <a:pt x="883" y="296"/>
                    <a:pt x="883" y="296"/>
                  </a:cubicBezTo>
                  <a:cubicBezTo>
                    <a:pt x="879" y="292"/>
                    <a:pt x="879" y="292"/>
                    <a:pt x="879" y="292"/>
                  </a:cubicBezTo>
                  <a:cubicBezTo>
                    <a:pt x="877" y="283"/>
                    <a:pt x="877" y="283"/>
                    <a:pt x="877" y="283"/>
                  </a:cubicBezTo>
                  <a:cubicBezTo>
                    <a:pt x="865" y="281"/>
                    <a:pt x="865" y="281"/>
                    <a:pt x="865" y="281"/>
                  </a:cubicBezTo>
                  <a:cubicBezTo>
                    <a:pt x="856" y="273"/>
                    <a:pt x="856" y="273"/>
                    <a:pt x="856" y="273"/>
                  </a:cubicBezTo>
                  <a:cubicBezTo>
                    <a:pt x="854" y="265"/>
                    <a:pt x="854" y="265"/>
                    <a:pt x="854" y="265"/>
                  </a:cubicBezTo>
                  <a:cubicBezTo>
                    <a:pt x="849" y="260"/>
                    <a:pt x="849" y="260"/>
                    <a:pt x="849" y="260"/>
                  </a:cubicBezTo>
                  <a:cubicBezTo>
                    <a:pt x="848" y="247"/>
                    <a:pt x="848" y="247"/>
                    <a:pt x="848" y="247"/>
                  </a:cubicBezTo>
                  <a:cubicBezTo>
                    <a:pt x="860" y="238"/>
                    <a:pt x="860" y="238"/>
                    <a:pt x="860" y="238"/>
                  </a:cubicBezTo>
                  <a:cubicBezTo>
                    <a:pt x="870" y="228"/>
                    <a:pt x="870" y="228"/>
                    <a:pt x="870" y="228"/>
                  </a:cubicBezTo>
                  <a:cubicBezTo>
                    <a:pt x="875" y="220"/>
                    <a:pt x="875" y="220"/>
                    <a:pt x="875" y="220"/>
                  </a:cubicBezTo>
                  <a:cubicBezTo>
                    <a:pt x="888" y="220"/>
                    <a:pt x="888" y="220"/>
                    <a:pt x="888" y="220"/>
                  </a:cubicBezTo>
                  <a:cubicBezTo>
                    <a:pt x="888" y="197"/>
                    <a:pt x="888" y="197"/>
                    <a:pt x="888" y="197"/>
                  </a:cubicBezTo>
                  <a:cubicBezTo>
                    <a:pt x="890" y="181"/>
                    <a:pt x="890" y="181"/>
                    <a:pt x="890" y="181"/>
                  </a:cubicBezTo>
                  <a:cubicBezTo>
                    <a:pt x="875" y="173"/>
                    <a:pt x="875" y="173"/>
                    <a:pt x="875" y="173"/>
                  </a:cubicBezTo>
                  <a:cubicBezTo>
                    <a:pt x="871" y="165"/>
                    <a:pt x="871" y="165"/>
                    <a:pt x="871" y="165"/>
                  </a:cubicBezTo>
                  <a:cubicBezTo>
                    <a:pt x="868" y="169"/>
                    <a:pt x="868" y="169"/>
                    <a:pt x="868" y="169"/>
                  </a:cubicBezTo>
                  <a:cubicBezTo>
                    <a:pt x="864" y="160"/>
                    <a:pt x="864" y="160"/>
                    <a:pt x="864" y="160"/>
                  </a:cubicBezTo>
                  <a:cubicBezTo>
                    <a:pt x="868" y="156"/>
                    <a:pt x="868" y="156"/>
                    <a:pt x="868" y="156"/>
                  </a:cubicBezTo>
                  <a:cubicBezTo>
                    <a:pt x="873" y="151"/>
                    <a:pt x="873" y="151"/>
                    <a:pt x="873" y="151"/>
                  </a:cubicBezTo>
                  <a:cubicBezTo>
                    <a:pt x="886" y="149"/>
                    <a:pt x="886" y="149"/>
                    <a:pt x="886" y="149"/>
                  </a:cubicBezTo>
                  <a:cubicBezTo>
                    <a:pt x="885" y="142"/>
                    <a:pt x="885" y="142"/>
                    <a:pt x="885" y="142"/>
                  </a:cubicBezTo>
                  <a:cubicBezTo>
                    <a:pt x="891" y="135"/>
                    <a:pt x="891" y="135"/>
                    <a:pt x="891" y="135"/>
                  </a:cubicBezTo>
                  <a:cubicBezTo>
                    <a:pt x="889" y="127"/>
                    <a:pt x="889" y="127"/>
                    <a:pt x="889" y="127"/>
                  </a:cubicBezTo>
                  <a:cubicBezTo>
                    <a:pt x="879" y="122"/>
                    <a:pt x="879" y="122"/>
                    <a:pt x="879" y="122"/>
                  </a:cubicBezTo>
                  <a:cubicBezTo>
                    <a:pt x="870" y="119"/>
                    <a:pt x="870" y="119"/>
                    <a:pt x="870" y="119"/>
                  </a:cubicBezTo>
                  <a:cubicBezTo>
                    <a:pt x="865" y="114"/>
                    <a:pt x="865" y="114"/>
                    <a:pt x="865" y="114"/>
                  </a:cubicBezTo>
                  <a:cubicBezTo>
                    <a:pt x="863" y="107"/>
                    <a:pt x="863" y="107"/>
                    <a:pt x="863" y="107"/>
                  </a:cubicBezTo>
                  <a:cubicBezTo>
                    <a:pt x="856" y="107"/>
                    <a:pt x="856" y="107"/>
                    <a:pt x="856" y="107"/>
                  </a:cubicBezTo>
                  <a:cubicBezTo>
                    <a:pt x="856" y="99"/>
                    <a:pt x="856" y="99"/>
                    <a:pt x="856" y="99"/>
                  </a:cubicBezTo>
                  <a:cubicBezTo>
                    <a:pt x="848" y="107"/>
                    <a:pt x="848" y="107"/>
                    <a:pt x="848" y="107"/>
                  </a:cubicBezTo>
                  <a:cubicBezTo>
                    <a:pt x="849" y="114"/>
                    <a:pt x="849" y="114"/>
                    <a:pt x="849" y="114"/>
                  </a:cubicBezTo>
                  <a:cubicBezTo>
                    <a:pt x="852" y="123"/>
                    <a:pt x="852" y="123"/>
                    <a:pt x="852" y="123"/>
                  </a:cubicBezTo>
                  <a:cubicBezTo>
                    <a:pt x="844" y="130"/>
                    <a:pt x="844" y="130"/>
                    <a:pt x="844" y="130"/>
                  </a:cubicBezTo>
                  <a:cubicBezTo>
                    <a:pt x="833" y="120"/>
                    <a:pt x="833" y="120"/>
                    <a:pt x="833" y="120"/>
                  </a:cubicBezTo>
                  <a:cubicBezTo>
                    <a:pt x="826" y="113"/>
                    <a:pt x="826" y="113"/>
                    <a:pt x="826" y="113"/>
                  </a:cubicBezTo>
                  <a:cubicBezTo>
                    <a:pt x="812" y="122"/>
                    <a:pt x="812" y="122"/>
                    <a:pt x="812" y="122"/>
                  </a:cubicBezTo>
                  <a:cubicBezTo>
                    <a:pt x="817" y="137"/>
                    <a:pt x="817" y="137"/>
                    <a:pt x="817" y="137"/>
                  </a:cubicBezTo>
                  <a:cubicBezTo>
                    <a:pt x="827" y="147"/>
                    <a:pt x="827" y="147"/>
                    <a:pt x="827" y="147"/>
                  </a:cubicBezTo>
                  <a:cubicBezTo>
                    <a:pt x="827" y="152"/>
                    <a:pt x="827" y="152"/>
                    <a:pt x="827" y="152"/>
                  </a:cubicBezTo>
                  <a:cubicBezTo>
                    <a:pt x="839" y="158"/>
                    <a:pt x="839" y="158"/>
                    <a:pt x="839" y="158"/>
                  </a:cubicBezTo>
                  <a:cubicBezTo>
                    <a:pt x="847" y="166"/>
                    <a:pt x="847" y="166"/>
                    <a:pt x="847" y="166"/>
                  </a:cubicBezTo>
                  <a:cubicBezTo>
                    <a:pt x="851" y="176"/>
                    <a:pt x="851" y="176"/>
                    <a:pt x="851" y="176"/>
                  </a:cubicBezTo>
                  <a:cubicBezTo>
                    <a:pt x="851" y="184"/>
                    <a:pt x="851" y="184"/>
                    <a:pt x="851" y="184"/>
                  </a:cubicBezTo>
                  <a:cubicBezTo>
                    <a:pt x="840" y="174"/>
                    <a:pt x="840" y="174"/>
                    <a:pt x="840" y="174"/>
                  </a:cubicBezTo>
                  <a:cubicBezTo>
                    <a:pt x="829" y="163"/>
                    <a:pt x="829" y="163"/>
                    <a:pt x="829" y="163"/>
                  </a:cubicBezTo>
                  <a:cubicBezTo>
                    <a:pt x="819" y="170"/>
                    <a:pt x="819" y="170"/>
                    <a:pt x="819" y="170"/>
                  </a:cubicBezTo>
                  <a:cubicBezTo>
                    <a:pt x="811" y="163"/>
                    <a:pt x="811" y="163"/>
                    <a:pt x="811" y="163"/>
                  </a:cubicBezTo>
                  <a:cubicBezTo>
                    <a:pt x="797" y="152"/>
                    <a:pt x="797" y="152"/>
                    <a:pt x="797" y="152"/>
                  </a:cubicBezTo>
                  <a:cubicBezTo>
                    <a:pt x="797" y="140"/>
                    <a:pt x="797" y="140"/>
                    <a:pt x="797" y="140"/>
                  </a:cubicBezTo>
                  <a:cubicBezTo>
                    <a:pt x="797" y="124"/>
                    <a:pt x="797" y="124"/>
                    <a:pt x="797" y="124"/>
                  </a:cubicBezTo>
                  <a:cubicBezTo>
                    <a:pt x="809" y="112"/>
                    <a:pt x="809" y="112"/>
                    <a:pt x="809" y="112"/>
                  </a:cubicBezTo>
                  <a:cubicBezTo>
                    <a:pt x="812" y="94"/>
                    <a:pt x="812" y="94"/>
                    <a:pt x="812" y="94"/>
                  </a:cubicBezTo>
                  <a:cubicBezTo>
                    <a:pt x="812" y="75"/>
                    <a:pt x="812" y="75"/>
                    <a:pt x="812" y="75"/>
                  </a:cubicBezTo>
                  <a:cubicBezTo>
                    <a:pt x="815" y="61"/>
                    <a:pt x="815" y="61"/>
                    <a:pt x="815" y="61"/>
                  </a:cubicBezTo>
                  <a:cubicBezTo>
                    <a:pt x="804" y="61"/>
                    <a:pt x="804" y="61"/>
                    <a:pt x="804" y="61"/>
                  </a:cubicBezTo>
                  <a:cubicBezTo>
                    <a:pt x="800" y="71"/>
                    <a:pt x="800" y="71"/>
                    <a:pt x="800" y="71"/>
                  </a:cubicBezTo>
                  <a:cubicBezTo>
                    <a:pt x="804" y="82"/>
                    <a:pt x="804" y="82"/>
                    <a:pt x="804" y="82"/>
                  </a:cubicBezTo>
                  <a:cubicBezTo>
                    <a:pt x="799" y="96"/>
                    <a:pt x="799" y="96"/>
                    <a:pt x="799" y="96"/>
                  </a:cubicBezTo>
                  <a:cubicBezTo>
                    <a:pt x="791" y="109"/>
                    <a:pt x="791" y="109"/>
                    <a:pt x="791" y="109"/>
                  </a:cubicBezTo>
                  <a:cubicBezTo>
                    <a:pt x="777" y="109"/>
                    <a:pt x="777" y="109"/>
                    <a:pt x="777" y="109"/>
                  </a:cubicBezTo>
                  <a:cubicBezTo>
                    <a:pt x="760" y="126"/>
                    <a:pt x="760" y="126"/>
                    <a:pt x="760" y="126"/>
                  </a:cubicBezTo>
                  <a:cubicBezTo>
                    <a:pt x="750" y="136"/>
                    <a:pt x="750" y="136"/>
                    <a:pt x="750" y="136"/>
                  </a:cubicBezTo>
                  <a:cubicBezTo>
                    <a:pt x="759" y="146"/>
                    <a:pt x="759" y="146"/>
                    <a:pt x="759" y="146"/>
                  </a:cubicBezTo>
                  <a:cubicBezTo>
                    <a:pt x="758" y="160"/>
                    <a:pt x="758" y="160"/>
                    <a:pt x="758" y="160"/>
                  </a:cubicBezTo>
                  <a:cubicBezTo>
                    <a:pt x="762" y="172"/>
                    <a:pt x="762" y="172"/>
                    <a:pt x="762" y="172"/>
                  </a:cubicBezTo>
                  <a:cubicBezTo>
                    <a:pt x="766" y="187"/>
                    <a:pt x="766" y="187"/>
                    <a:pt x="766" y="187"/>
                  </a:cubicBezTo>
                  <a:cubicBezTo>
                    <a:pt x="753" y="200"/>
                    <a:pt x="753" y="200"/>
                    <a:pt x="753" y="200"/>
                  </a:cubicBezTo>
                  <a:cubicBezTo>
                    <a:pt x="747" y="218"/>
                    <a:pt x="747" y="218"/>
                    <a:pt x="747" y="218"/>
                  </a:cubicBezTo>
                  <a:cubicBezTo>
                    <a:pt x="738" y="232"/>
                    <a:pt x="738" y="232"/>
                    <a:pt x="738" y="232"/>
                  </a:cubicBezTo>
                  <a:cubicBezTo>
                    <a:pt x="740" y="254"/>
                    <a:pt x="740" y="254"/>
                    <a:pt x="740" y="254"/>
                  </a:cubicBezTo>
                  <a:cubicBezTo>
                    <a:pt x="732" y="262"/>
                    <a:pt x="732" y="262"/>
                    <a:pt x="732" y="262"/>
                  </a:cubicBezTo>
                  <a:cubicBezTo>
                    <a:pt x="734" y="274"/>
                    <a:pt x="734" y="274"/>
                    <a:pt x="734" y="274"/>
                  </a:cubicBezTo>
                  <a:cubicBezTo>
                    <a:pt x="746" y="274"/>
                    <a:pt x="746" y="274"/>
                    <a:pt x="746" y="274"/>
                  </a:cubicBezTo>
                  <a:cubicBezTo>
                    <a:pt x="751" y="282"/>
                    <a:pt x="751" y="282"/>
                    <a:pt x="751" y="282"/>
                  </a:cubicBezTo>
                  <a:cubicBezTo>
                    <a:pt x="761" y="277"/>
                    <a:pt x="761" y="277"/>
                    <a:pt x="761" y="277"/>
                  </a:cubicBezTo>
                  <a:cubicBezTo>
                    <a:pt x="769" y="269"/>
                    <a:pt x="769" y="269"/>
                    <a:pt x="769" y="269"/>
                  </a:cubicBezTo>
                  <a:cubicBezTo>
                    <a:pt x="778" y="279"/>
                    <a:pt x="778" y="279"/>
                    <a:pt x="778" y="279"/>
                  </a:cubicBezTo>
                  <a:cubicBezTo>
                    <a:pt x="794" y="284"/>
                    <a:pt x="794" y="284"/>
                    <a:pt x="794" y="284"/>
                  </a:cubicBezTo>
                  <a:cubicBezTo>
                    <a:pt x="800" y="290"/>
                    <a:pt x="800" y="290"/>
                    <a:pt x="800" y="290"/>
                  </a:cubicBezTo>
                  <a:cubicBezTo>
                    <a:pt x="808" y="298"/>
                    <a:pt x="808" y="298"/>
                    <a:pt x="808" y="298"/>
                  </a:cubicBezTo>
                  <a:cubicBezTo>
                    <a:pt x="815" y="311"/>
                    <a:pt x="815" y="311"/>
                    <a:pt x="815" y="311"/>
                  </a:cubicBezTo>
                  <a:cubicBezTo>
                    <a:pt x="810" y="322"/>
                    <a:pt x="810" y="322"/>
                    <a:pt x="810" y="322"/>
                  </a:cubicBezTo>
                  <a:cubicBezTo>
                    <a:pt x="814" y="334"/>
                    <a:pt x="814" y="334"/>
                    <a:pt x="814" y="334"/>
                  </a:cubicBezTo>
                  <a:cubicBezTo>
                    <a:pt x="810" y="343"/>
                    <a:pt x="810" y="343"/>
                    <a:pt x="810" y="343"/>
                  </a:cubicBezTo>
                  <a:cubicBezTo>
                    <a:pt x="800" y="346"/>
                    <a:pt x="800" y="346"/>
                    <a:pt x="800" y="346"/>
                  </a:cubicBezTo>
                  <a:cubicBezTo>
                    <a:pt x="801" y="358"/>
                    <a:pt x="801" y="358"/>
                    <a:pt x="801" y="358"/>
                  </a:cubicBezTo>
                  <a:cubicBezTo>
                    <a:pt x="801" y="366"/>
                    <a:pt x="801" y="366"/>
                    <a:pt x="801" y="366"/>
                  </a:cubicBezTo>
                  <a:cubicBezTo>
                    <a:pt x="807" y="372"/>
                    <a:pt x="807" y="372"/>
                    <a:pt x="807" y="372"/>
                  </a:cubicBezTo>
                  <a:cubicBezTo>
                    <a:pt x="822" y="376"/>
                    <a:pt x="822" y="376"/>
                    <a:pt x="822" y="376"/>
                  </a:cubicBezTo>
                  <a:cubicBezTo>
                    <a:pt x="822" y="386"/>
                    <a:pt x="822" y="386"/>
                    <a:pt x="822" y="386"/>
                  </a:cubicBezTo>
                  <a:cubicBezTo>
                    <a:pt x="806" y="382"/>
                    <a:pt x="806" y="382"/>
                    <a:pt x="806" y="382"/>
                  </a:cubicBezTo>
                  <a:cubicBezTo>
                    <a:pt x="793" y="369"/>
                    <a:pt x="793" y="369"/>
                    <a:pt x="793" y="369"/>
                  </a:cubicBezTo>
                  <a:cubicBezTo>
                    <a:pt x="793" y="359"/>
                    <a:pt x="793" y="359"/>
                    <a:pt x="793" y="359"/>
                  </a:cubicBezTo>
                  <a:cubicBezTo>
                    <a:pt x="792" y="343"/>
                    <a:pt x="792" y="343"/>
                    <a:pt x="792" y="343"/>
                  </a:cubicBezTo>
                  <a:cubicBezTo>
                    <a:pt x="803" y="332"/>
                    <a:pt x="803" y="332"/>
                    <a:pt x="803" y="332"/>
                  </a:cubicBezTo>
                  <a:cubicBezTo>
                    <a:pt x="795" y="312"/>
                    <a:pt x="795" y="312"/>
                    <a:pt x="795" y="312"/>
                  </a:cubicBezTo>
                  <a:cubicBezTo>
                    <a:pt x="789" y="305"/>
                    <a:pt x="789" y="305"/>
                    <a:pt x="789" y="305"/>
                  </a:cubicBezTo>
                  <a:cubicBezTo>
                    <a:pt x="784" y="292"/>
                    <a:pt x="784" y="292"/>
                    <a:pt x="784" y="292"/>
                  </a:cubicBezTo>
                  <a:cubicBezTo>
                    <a:pt x="769" y="294"/>
                    <a:pt x="769" y="294"/>
                    <a:pt x="769" y="294"/>
                  </a:cubicBezTo>
                  <a:cubicBezTo>
                    <a:pt x="755" y="294"/>
                    <a:pt x="755" y="294"/>
                    <a:pt x="755" y="294"/>
                  </a:cubicBezTo>
                  <a:cubicBezTo>
                    <a:pt x="746" y="303"/>
                    <a:pt x="746" y="303"/>
                    <a:pt x="746" y="303"/>
                  </a:cubicBezTo>
                  <a:cubicBezTo>
                    <a:pt x="737" y="312"/>
                    <a:pt x="737" y="312"/>
                    <a:pt x="737" y="312"/>
                  </a:cubicBezTo>
                  <a:cubicBezTo>
                    <a:pt x="738" y="325"/>
                    <a:pt x="738" y="325"/>
                    <a:pt x="738" y="325"/>
                  </a:cubicBezTo>
                  <a:cubicBezTo>
                    <a:pt x="742" y="339"/>
                    <a:pt x="742" y="339"/>
                    <a:pt x="742" y="339"/>
                  </a:cubicBezTo>
                  <a:cubicBezTo>
                    <a:pt x="738" y="355"/>
                    <a:pt x="738" y="355"/>
                    <a:pt x="738" y="355"/>
                  </a:cubicBezTo>
                  <a:cubicBezTo>
                    <a:pt x="729" y="363"/>
                    <a:pt x="729" y="363"/>
                    <a:pt x="729" y="363"/>
                  </a:cubicBezTo>
                  <a:cubicBezTo>
                    <a:pt x="719" y="374"/>
                    <a:pt x="719" y="374"/>
                    <a:pt x="719" y="374"/>
                  </a:cubicBezTo>
                  <a:cubicBezTo>
                    <a:pt x="713" y="380"/>
                    <a:pt x="713" y="380"/>
                    <a:pt x="713" y="380"/>
                  </a:cubicBezTo>
                  <a:cubicBezTo>
                    <a:pt x="713" y="394"/>
                    <a:pt x="713" y="394"/>
                    <a:pt x="713" y="394"/>
                  </a:cubicBezTo>
                  <a:cubicBezTo>
                    <a:pt x="700" y="401"/>
                    <a:pt x="700" y="401"/>
                    <a:pt x="700" y="401"/>
                  </a:cubicBezTo>
                  <a:cubicBezTo>
                    <a:pt x="683" y="406"/>
                    <a:pt x="683" y="406"/>
                    <a:pt x="683" y="406"/>
                  </a:cubicBezTo>
                  <a:cubicBezTo>
                    <a:pt x="679" y="410"/>
                    <a:pt x="679" y="410"/>
                    <a:pt x="679" y="410"/>
                  </a:cubicBezTo>
                  <a:cubicBezTo>
                    <a:pt x="670" y="410"/>
                    <a:pt x="670" y="410"/>
                    <a:pt x="670" y="410"/>
                  </a:cubicBezTo>
                  <a:cubicBezTo>
                    <a:pt x="670" y="410"/>
                    <a:pt x="661" y="414"/>
                    <a:pt x="663" y="417"/>
                  </a:cubicBezTo>
                  <a:cubicBezTo>
                    <a:pt x="666" y="419"/>
                    <a:pt x="661" y="428"/>
                    <a:pt x="661" y="428"/>
                  </a:cubicBezTo>
                  <a:cubicBezTo>
                    <a:pt x="649" y="428"/>
                    <a:pt x="649" y="428"/>
                    <a:pt x="649" y="428"/>
                  </a:cubicBezTo>
                  <a:cubicBezTo>
                    <a:pt x="641" y="417"/>
                    <a:pt x="641" y="417"/>
                    <a:pt x="641" y="417"/>
                  </a:cubicBezTo>
                  <a:cubicBezTo>
                    <a:pt x="630" y="418"/>
                    <a:pt x="630" y="418"/>
                    <a:pt x="630" y="418"/>
                  </a:cubicBezTo>
                  <a:cubicBezTo>
                    <a:pt x="616" y="408"/>
                    <a:pt x="616" y="408"/>
                    <a:pt x="616" y="408"/>
                  </a:cubicBezTo>
                  <a:cubicBezTo>
                    <a:pt x="606" y="404"/>
                    <a:pt x="606" y="404"/>
                    <a:pt x="606" y="404"/>
                  </a:cubicBezTo>
                  <a:cubicBezTo>
                    <a:pt x="596" y="388"/>
                    <a:pt x="596" y="388"/>
                    <a:pt x="596" y="388"/>
                  </a:cubicBezTo>
                  <a:cubicBezTo>
                    <a:pt x="596" y="376"/>
                    <a:pt x="596" y="376"/>
                    <a:pt x="596" y="376"/>
                  </a:cubicBezTo>
                  <a:cubicBezTo>
                    <a:pt x="606" y="379"/>
                    <a:pt x="606" y="379"/>
                    <a:pt x="606" y="379"/>
                  </a:cubicBezTo>
                  <a:cubicBezTo>
                    <a:pt x="613" y="386"/>
                    <a:pt x="613" y="386"/>
                    <a:pt x="613" y="386"/>
                  </a:cubicBezTo>
                  <a:cubicBezTo>
                    <a:pt x="624" y="393"/>
                    <a:pt x="624" y="393"/>
                    <a:pt x="624" y="393"/>
                  </a:cubicBezTo>
                  <a:cubicBezTo>
                    <a:pt x="634" y="386"/>
                    <a:pt x="634" y="386"/>
                    <a:pt x="634" y="386"/>
                  </a:cubicBezTo>
                  <a:cubicBezTo>
                    <a:pt x="651" y="390"/>
                    <a:pt x="651" y="390"/>
                    <a:pt x="651" y="390"/>
                  </a:cubicBezTo>
                  <a:cubicBezTo>
                    <a:pt x="660" y="384"/>
                    <a:pt x="660" y="384"/>
                    <a:pt x="660" y="384"/>
                  </a:cubicBezTo>
                  <a:cubicBezTo>
                    <a:pt x="670" y="370"/>
                    <a:pt x="670" y="370"/>
                    <a:pt x="670" y="370"/>
                  </a:cubicBezTo>
                  <a:cubicBezTo>
                    <a:pt x="688" y="352"/>
                    <a:pt x="688" y="352"/>
                    <a:pt x="688" y="352"/>
                  </a:cubicBezTo>
                  <a:cubicBezTo>
                    <a:pt x="702" y="348"/>
                    <a:pt x="702" y="348"/>
                    <a:pt x="702" y="348"/>
                  </a:cubicBezTo>
                  <a:cubicBezTo>
                    <a:pt x="705" y="324"/>
                    <a:pt x="705" y="324"/>
                    <a:pt x="705" y="324"/>
                  </a:cubicBezTo>
                  <a:cubicBezTo>
                    <a:pt x="720" y="312"/>
                    <a:pt x="720" y="312"/>
                    <a:pt x="720" y="312"/>
                  </a:cubicBezTo>
                  <a:cubicBezTo>
                    <a:pt x="722" y="302"/>
                    <a:pt x="722" y="302"/>
                    <a:pt x="722" y="302"/>
                  </a:cubicBezTo>
                  <a:cubicBezTo>
                    <a:pt x="710" y="290"/>
                    <a:pt x="710" y="290"/>
                    <a:pt x="710" y="290"/>
                  </a:cubicBezTo>
                  <a:cubicBezTo>
                    <a:pt x="705" y="272"/>
                    <a:pt x="705" y="272"/>
                    <a:pt x="705" y="272"/>
                  </a:cubicBezTo>
                  <a:cubicBezTo>
                    <a:pt x="710" y="260"/>
                    <a:pt x="710" y="260"/>
                    <a:pt x="710" y="260"/>
                  </a:cubicBezTo>
                  <a:cubicBezTo>
                    <a:pt x="718" y="234"/>
                    <a:pt x="718" y="234"/>
                    <a:pt x="718" y="234"/>
                  </a:cubicBezTo>
                  <a:cubicBezTo>
                    <a:pt x="722" y="206"/>
                    <a:pt x="722" y="206"/>
                    <a:pt x="722" y="206"/>
                  </a:cubicBezTo>
                  <a:cubicBezTo>
                    <a:pt x="736" y="186"/>
                    <a:pt x="736" y="186"/>
                    <a:pt x="736" y="186"/>
                  </a:cubicBezTo>
                  <a:cubicBezTo>
                    <a:pt x="739" y="168"/>
                    <a:pt x="739" y="168"/>
                    <a:pt x="739" y="168"/>
                  </a:cubicBezTo>
                  <a:cubicBezTo>
                    <a:pt x="743" y="145"/>
                    <a:pt x="743" y="145"/>
                    <a:pt x="743" y="145"/>
                  </a:cubicBezTo>
                  <a:cubicBezTo>
                    <a:pt x="732" y="135"/>
                    <a:pt x="732" y="135"/>
                    <a:pt x="732" y="135"/>
                  </a:cubicBezTo>
                  <a:cubicBezTo>
                    <a:pt x="737" y="118"/>
                    <a:pt x="737" y="118"/>
                    <a:pt x="737" y="118"/>
                  </a:cubicBezTo>
                  <a:cubicBezTo>
                    <a:pt x="756" y="99"/>
                    <a:pt x="756" y="99"/>
                    <a:pt x="756" y="99"/>
                  </a:cubicBezTo>
                  <a:cubicBezTo>
                    <a:pt x="759" y="74"/>
                    <a:pt x="759" y="74"/>
                    <a:pt x="759" y="74"/>
                  </a:cubicBezTo>
                  <a:cubicBezTo>
                    <a:pt x="766" y="68"/>
                    <a:pt x="766" y="68"/>
                    <a:pt x="766" y="68"/>
                  </a:cubicBezTo>
                  <a:cubicBezTo>
                    <a:pt x="760" y="45"/>
                    <a:pt x="760" y="45"/>
                    <a:pt x="760" y="45"/>
                  </a:cubicBezTo>
                  <a:cubicBezTo>
                    <a:pt x="746" y="45"/>
                    <a:pt x="746" y="45"/>
                    <a:pt x="746" y="45"/>
                  </a:cubicBezTo>
                  <a:cubicBezTo>
                    <a:pt x="738" y="37"/>
                    <a:pt x="738" y="37"/>
                    <a:pt x="738" y="37"/>
                  </a:cubicBezTo>
                  <a:cubicBezTo>
                    <a:pt x="722" y="37"/>
                    <a:pt x="722" y="37"/>
                    <a:pt x="722" y="37"/>
                  </a:cubicBezTo>
                  <a:cubicBezTo>
                    <a:pt x="714" y="26"/>
                    <a:pt x="714" y="26"/>
                    <a:pt x="714" y="26"/>
                  </a:cubicBezTo>
                  <a:cubicBezTo>
                    <a:pt x="701" y="32"/>
                    <a:pt x="701" y="32"/>
                    <a:pt x="701" y="32"/>
                  </a:cubicBezTo>
                  <a:cubicBezTo>
                    <a:pt x="694" y="48"/>
                    <a:pt x="694" y="48"/>
                    <a:pt x="694" y="48"/>
                  </a:cubicBezTo>
                  <a:cubicBezTo>
                    <a:pt x="687" y="64"/>
                    <a:pt x="687" y="64"/>
                    <a:pt x="687" y="64"/>
                  </a:cubicBezTo>
                  <a:cubicBezTo>
                    <a:pt x="678" y="84"/>
                    <a:pt x="678" y="84"/>
                    <a:pt x="678" y="84"/>
                  </a:cubicBezTo>
                  <a:cubicBezTo>
                    <a:pt x="667" y="95"/>
                    <a:pt x="667" y="95"/>
                    <a:pt x="667" y="95"/>
                  </a:cubicBezTo>
                  <a:cubicBezTo>
                    <a:pt x="662" y="100"/>
                    <a:pt x="662" y="100"/>
                    <a:pt x="662" y="100"/>
                  </a:cubicBezTo>
                  <a:cubicBezTo>
                    <a:pt x="648" y="107"/>
                    <a:pt x="648" y="107"/>
                    <a:pt x="648" y="107"/>
                  </a:cubicBezTo>
                  <a:cubicBezTo>
                    <a:pt x="634" y="112"/>
                    <a:pt x="634" y="112"/>
                    <a:pt x="634" y="112"/>
                  </a:cubicBezTo>
                  <a:cubicBezTo>
                    <a:pt x="627" y="121"/>
                    <a:pt x="627" y="121"/>
                    <a:pt x="627" y="121"/>
                  </a:cubicBezTo>
                  <a:cubicBezTo>
                    <a:pt x="622" y="134"/>
                    <a:pt x="622" y="134"/>
                    <a:pt x="622" y="134"/>
                  </a:cubicBezTo>
                  <a:cubicBezTo>
                    <a:pt x="631" y="137"/>
                    <a:pt x="631" y="137"/>
                    <a:pt x="631" y="137"/>
                  </a:cubicBezTo>
                  <a:cubicBezTo>
                    <a:pt x="631" y="147"/>
                    <a:pt x="631" y="147"/>
                    <a:pt x="631" y="147"/>
                  </a:cubicBezTo>
                  <a:cubicBezTo>
                    <a:pt x="625" y="155"/>
                    <a:pt x="625" y="155"/>
                    <a:pt x="625" y="155"/>
                  </a:cubicBezTo>
                  <a:cubicBezTo>
                    <a:pt x="622" y="171"/>
                    <a:pt x="622" y="171"/>
                    <a:pt x="622" y="171"/>
                  </a:cubicBezTo>
                  <a:cubicBezTo>
                    <a:pt x="622" y="182"/>
                    <a:pt x="622" y="182"/>
                    <a:pt x="622" y="182"/>
                  </a:cubicBezTo>
                  <a:cubicBezTo>
                    <a:pt x="608" y="188"/>
                    <a:pt x="608" y="188"/>
                    <a:pt x="608" y="188"/>
                  </a:cubicBezTo>
                  <a:cubicBezTo>
                    <a:pt x="602" y="195"/>
                    <a:pt x="602" y="195"/>
                    <a:pt x="602" y="195"/>
                  </a:cubicBezTo>
                  <a:cubicBezTo>
                    <a:pt x="609" y="209"/>
                    <a:pt x="609" y="209"/>
                    <a:pt x="609" y="209"/>
                  </a:cubicBezTo>
                  <a:cubicBezTo>
                    <a:pt x="622" y="218"/>
                    <a:pt x="622" y="218"/>
                    <a:pt x="622" y="218"/>
                  </a:cubicBezTo>
                  <a:cubicBezTo>
                    <a:pt x="619" y="236"/>
                    <a:pt x="619" y="236"/>
                    <a:pt x="619" y="236"/>
                  </a:cubicBezTo>
                  <a:cubicBezTo>
                    <a:pt x="626" y="254"/>
                    <a:pt x="626" y="254"/>
                    <a:pt x="626" y="254"/>
                  </a:cubicBezTo>
                  <a:cubicBezTo>
                    <a:pt x="637" y="257"/>
                    <a:pt x="637" y="257"/>
                    <a:pt x="637" y="257"/>
                  </a:cubicBezTo>
                  <a:cubicBezTo>
                    <a:pt x="622" y="271"/>
                    <a:pt x="622" y="271"/>
                    <a:pt x="622" y="271"/>
                  </a:cubicBezTo>
                  <a:cubicBezTo>
                    <a:pt x="622" y="285"/>
                    <a:pt x="622" y="285"/>
                    <a:pt x="622" y="285"/>
                  </a:cubicBezTo>
                  <a:cubicBezTo>
                    <a:pt x="608" y="293"/>
                    <a:pt x="608" y="293"/>
                    <a:pt x="608" y="293"/>
                  </a:cubicBezTo>
                  <a:cubicBezTo>
                    <a:pt x="599" y="278"/>
                    <a:pt x="599" y="278"/>
                    <a:pt x="599" y="278"/>
                  </a:cubicBezTo>
                  <a:cubicBezTo>
                    <a:pt x="599" y="265"/>
                    <a:pt x="599" y="265"/>
                    <a:pt x="599" y="265"/>
                  </a:cubicBezTo>
                  <a:cubicBezTo>
                    <a:pt x="588" y="250"/>
                    <a:pt x="588" y="250"/>
                    <a:pt x="588" y="250"/>
                  </a:cubicBezTo>
                  <a:cubicBezTo>
                    <a:pt x="577" y="233"/>
                    <a:pt x="577" y="233"/>
                    <a:pt x="577" y="233"/>
                  </a:cubicBezTo>
                  <a:cubicBezTo>
                    <a:pt x="561" y="217"/>
                    <a:pt x="561" y="217"/>
                    <a:pt x="561" y="217"/>
                  </a:cubicBezTo>
                  <a:cubicBezTo>
                    <a:pt x="556" y="207"/>
                    <a:pt x="556" y="207"/>
                    <a:pt x="556" y="207"/>
                  </a:cubicBezTo>
                  <a:cubicBezTo>
                    <a:pt x="551" y="215"/>
                    <a:pt x="551" y="215"/>
                    <a:pt x="551" y="215"/>
                  </a:cubicBezTo>
                  <a:cubicBezTo>
                    <a:pt x="540" y="225"/>
                    <a:pt x="540" y="225"/>
                    <a:pt x="540" y="225"/>
                  </a:cubicBezTo>
                  <a:cubicBezTo>
                    <a:pt x="547" y="231"/>
                    <a:pt x="547" y="231"/>
                    <a:pt x="547" y="231"/>
                  </a:cubicBezTo>
                  <a:cubicBezTo>
                    <a:pt x="548" y="236"/>
                    <a:pt x="548" y="236"/>
                    <a:pt x="548" y="236"/>
                  </a:cubicBezTo>
                  <a:cubicBezTo>
                    <a:pt x="553" y="238"/>
                    <a:pt x="553" y="238"/>
                    <a:pt x="553" y="238"/>
                  </a:cubicBezTo>
                  <a:cubicBezTo>
                    <a:pt x="553" y="261"/>
                    <a:pt x="553" y="261"/>
                    <a:pt x="553" y="261"/>
                  </a:cubicBezTo>
                  <a:cubicBezTo>
                    <a:pt x="547" y="261"/>
                    <a:pt x="547" y="261"/>
                    <a:pt x="547" y="261"/>
                  </a:cubicBezTo>
                  <a:cubicBezTo>
                    <a:pt x="544" y="268"/>
                    <a:pt x="544" y="268"/>
                    <a:pt x="544" y="268"/>
                  </a:cubicBezTo>
                  <a:cubicBezTo>
                    <a:pt x="538" y="271"/>
                    <a:pt x="538" y="271"/>
                    <a:pt x="538" y="271"/>
                  </a:cubicBezTo>
                  <a:cubicBezTo>
                    <a:pt x="537" y="278"/>
                    <a:pt x="537" y="278"/>
                    <a:pt x="537" y="278"/>
                  </a:cubicBezTo>
                  <a:cubicBezTo>
                    <a:pt x="536" y="283"/>
                    <a:pt x="536" y="283"/>
                    <a:pt x="536" y="283"/>
                  </a:cubicBezTo>
                  <a:cubicBezTo>
                    <a:pt x="550" y="290"/>
                    <a:pt x="550" y="290"/>
                    <a:pt x="550" y="290"/>
                  </a:cubicBezTo>
                  <a:cubicBezTo>
                    <a:pt x="550" y="298"/>
                    <a:pt x="550" y="298"/>
                    <a:pt x="550" y="298"/>
                  </a:cubicBezTo>
                  <a:cubicBezTo>
                    <a:pt x="537" y="303"/>
                    <a:pt x="537" y="303"/>
                    <a:pt x="537" y="303"/>
                  </a:cubicBezTo>
                  <a:cubicBezTo>
                    <a:pt x="548" y="314"/>
                    <a:pt x="548" y="314"/>
                    <a:pt x="548" y="314"/>
                  </a:cubicBezTo>
                  <a:cubicBezTo>
                    <a:pt x="532" y="322"/>
                    <a:pt x="532" y="322"/>
                    <a:pt x="532" y="322"/>
                  </a:cubicBezTo>
                  <a:cubicBezTo>
                    <a:pt x="520" y="334"/>
                    <a:pt x="520" y="334"/>
                    <a:pt x="520" y="334"/>
                  </a:cubicBezTo>
                  <a:cubicBezTo>
                    <a:pt x="507" y="334"/>
                    <a:pt x="507" y="334"/>
                    <a:pt x="507" y="334"/>
                  </a:cubicBezTo>
                  <a:cubicBezTo>
                    <a:pt x="502" y="348"/>
                    <a:pt x="502" y="348"/>
                    <a:pt x="502" y="348"/>
                  </a:cubicBezTo>
                  <a:cubicBezTo>
                    <a:pt x="480" y="348"/>
                    <a:pt x="480" y="348"/>
                    <a:pt x="480" y="348"/>
                  </a:cubicBezTo>
                  <a:cubicBezTo>
                    <a:pt x="458" y="353"/>
                    <a:pt x="458" y="353"/>
                    <a:pt x="458" y="353"/>
                  </a:cubicBezTo>
                  <a:cubicBezTo>
                    <a:pt x="437" y="365"/>
                    <a:pt x="437" y="365"/>
                    <a:pt x="437" y="365"/>
                  </a:cubicBezTo>
                  <a:cubicBezTo>
                    <a:pt x="437" y="380"/>
                    <a:pt x="437" y="380"/>
                    <a:pt x="437" y="380"/>
                  </a:cubicBezTo>
                  <a:cubicBezTo>
                    <a:pt x="419" y="379"/>
                    <a:pt x="419" y="379"/>
                    <a:pt x="419" y="379"/>
                  </a:cubicBezTo>
                  <a:cubicBezTo>
                    <a:pt x="407" y="381"/>
                    <a:pt x="407" y="381"/>
                    <a:pt x="407" y="381"/>
                  </a:cubicBezTo>
                  <a:cubicBezTo>
                    <a:pt x="400" y="389"/>
                    <a:pt x="400" y="389"/>
                    <a:pt x="400" y="389"/>
                  </a:cubicBezTo>
                  <a:cubicBezTo>
                    <a:pt x="387" y="395"/>
                    <a:pt x="387" y="395"/>
                    <a:pt x="387" y="395"/>
                  </a:cubicBezTo>
                  <a:cubicBezTo>
                    <a:pt x="375" y="408"/>
                    <a:pt x="375" y="408"/>
                    <a:pt x="375" y="408"/>
                  </a:cubicBezTo>
                  <a:cubicBezTo>
                    <a:pt x="363" y="409"/>
                    <a:pt x="363" y="409"/>
                    <a:pt x="363" y="409"/>
                  </a:cubicBezTo>
                  <a:cubicBezTo>
                    <a:pt x="363" y="399"/>
                    <a:pt x="363" y="399"/>
                    <a:pt x="363" y="399"/>
                  </a:cubicBezTo>
                  <a:cubicBezTo>
                    <a:pt x="355" y="396"/>
                    <a:pt x="355" y="396"/>
                    <a:pt x="355" y="396"/>
                  </a:cubicBezTo>
                  <a:cubicBezTo>
                    <a:pt x="344" y="406"/>
                    <a:pt x="344" y="406"/>
                    <a:pt x="344" y="406"/>
                  </a:cubicBezTo>
                  <a:cubicBezTo>
                    <a:pt x="331" y="420"/>
                    <a:pt x="331" y="420"/>
                    <a:pt x="331" y="420"/>
                  </a:cubicBezTo>
                  <a:cubicBezTo>
                    <a:pt x="325" y="432"/>
                    <a:pt x="325" y="432"/>
                    <a:pt x="325" y="432"/>
                  </a:cubicBezTo>
                  <a:cubicBezTo>
                    <a:pt x="327" y="446"/>
                    <a:pt x="327" y="446"/>
                    <a:pt x="327" y="446"/>
                  </a:cubicBezTo>
                  <a:cubicBezTo>
                    <a:pt x="311" y="456"/>
                    <a:pt x="311" y="456"/>
                    <a:pt x="311" y="456"/>
                  </a:cubicBezTo>
                  <a:cubicBezTo>
                    <a:pt x="310" y="468"/>
                    <a:pt x="310" y="468"/>
                    <a:pt x="310" y="468"/>
                  </a:cubicBezTo>
                  <a:cubicBezTo>
                    <a:pt x="296" y="477"/>
                    <a:pt x="296" y="477"/>
                    <a:pt x="296" y="477"/>
                  </a:cubicBezTo>
                  <a:cubicBezTo>
                    <a:pt x="287" y="494"/>
                    <a:pt x="287" y="494"/>
                    <a:pt x="287" y="494"/>
                  </a:cubicBezTo>
                  <a:cubicBezTo>
                    <a:pt x="290" y="505"/>
                    <a:pt x="290" y="505"/>
                    <a:pt x="290" y="505"/>
                  </a:cubicBezTo>
                  <a:cubicBezTo>
                    <a:pt x="284" y="516"/>
                    <a:pt x="284" y="516"/>
                    <a:pt x="284" y="516"/>
                  </a:cubicBezTo>
                  <a:cubicBezTo>
                    <a:pt x="284" y="525"/>
                    <a:pt x="284" y="525"/>
                    <a:pt x="284" y="525"/>
                  </a:cubicBezTo>
                  <a:cubicBezTo>
                    <a:pt x="268" y="541"/>
                    <a:pt x="268" y="541"/>
                    <a:pt x="268" y="541"/>
                  </a:cubicBezTo>
                  <a:cubicBezTo>
                    <a:pt x="265" y="553"/>
                    <a:pt x="265" y="553"/>
                    <a:pt x="265" y="553"/>
                  </a:cubicBezTo>
                  <a:cubicBezTo>
                    <a:pt x="259" y="559"/>
                    <a:pt x="259" y="559"/>
                    <a:pt x="259" y="559"/>
                  </a:cubicBezTo>
                  <a:cubicBezTo>
                    <a:pt x="255" y="569"/>
                    <a:pt x="255" y="569"/>
                    <a:pt x="255" y="569"/>
                  </a:cubicBezTo>
                  <a:cubicBezTo>
                    <a:pt x="255" y="579"/>
                    <a:pt x="255" y="579"/>
                    <a:pt x="255" y="579"/>
                  </a:cubicBezTo>
                  <a:cubicBezTo>
                    <a:pt x="242" y="586"/>
                    <a:pt x="242" y="586"/>
                    <a:pt x="242" y="586"/>
                  </a:cubicBezTo>
                  <a:cubicBezTo>
                    <a:pt x="242" y="600"/>
                    <a:pt x="242" y="600"/>
                    <a:pt x="242" y="600"/>
                  </a:cubicBezTo>
                  <a:cubicBezTo>
                    <a:pt x="234" y="618"/>
                    <a:pt x="234" y="618"/>
                    <a:pt x="234" y="618"/>
                  </a:cubicBezTo>
                  <a:cubicBezTo>
                    <a:pt x="221" y="630"/>
                    <a:pt x="221" y="630"/>
                    <a:pt x="221" y="630"/>
                  </a:cubicBezTo>
                  <a:cubicBezTo>
                    <a:pt x="211" y="645"/>
                    <a:pt x="211" y="645"/>
                    <a:pt x="211" y="645"/>
                  </a:cubicBezTo>
                  <a:cubicBezTo>
                    <a:pt x="202" y="654"/>
                    <a:pt x="202" y="654"/>
                    <a:pt x="202" y="654"/>
                  </a:cubicBezTo>
                  <a:cubicBezTo>
                    <a:pt x="190" y="654"/>
                    <a:pt x="190" y="654"/>
                    <a:pt x="190" y="654"/>
                  </a:cubicBezTo>
                  <a:cubicBezTo>
                    <a:pt x="179" y="664"/>
                    <a:pt x="179" y="664"/>
                    <a:pt x="179" y="664"/>
                  </a:cubicBezTo>
                  <a:cubicBezTo>
                    <a:pt x="179" y="681"/>
                    <a:pt x="179" y="681"/>
                    <a:pt x="179" y="681"/>
                  </a:cubicBezTo>
                  <a:cubicBezTo>
                    <a:pt x="188" y="694"/>
                    <a:pt x="188" y="694"/>
                    <a:pt x="188" y="694"/>
                  </a:cubicBezTo>
                  <a:cubicBezTo>
                    <a:pt x="183" y="709"/>
                    <a:pt x="183" y="709"/>
                    <a:pt x="183" y="709"/>
                  </a:cubicBezTo>
                  <a:cubicBezTo>
                    <a:pt x="177" y="716"/>
                    <a:pt x="177" y="716"/>
                    <a:pt x="177" y="716"/>
                  </a:cubicBezTo>
                  <a:cubicBezTo>
                    <a:pt x="177" y="721"/>
                    <a:pt x="177" y="721"/>
                    <a:pt x="177" y="721"/>
                  </a:cubicBezTo>
                  <a:cubicBezTo>
                    <a:pt x="184" y="728"/>
                    <a:pt x="184" y="728"/>
                    <a:pt x="184" y="728"/>
                  </a:cubicBezTo>
                  <a:cubicBezTo>
                    <a:pt x="176" y="736"/>
                    <a:pt x="176" y="736"/>
                    <a:pt x="176" y="736"/>
                  </a:cubicBezTo>
                  <a:cubicBezTo>
                    <a:pt x="167" y="743"/>
                    <a:pt x="167" y="743"/>
                    <a:pt x="167" y="743"/>
                  </a:cubicBezTo>
                  <a:cubicBezTo>
                    <a:pt x="156" y="740"/>
                    <a:pt x="156" y="740"/>
                    <a:pt x="156" y="740"/>
                  </a:cubicBezTo>
                  <a:cubicBezTo>
                    <a:pt x="144" y="748"/>
                    <a:pt x="144" y="748"/>
                    <a:pt x="144" y="748"/>
                  </a:cubicBezTo>
                  <a:cubicBezTo>
                    <a:pt x="144" y="755"/>
                    <a:pt x="144" y="755"/>
                    <a:pt x="144" y="755"/>
                  </a:cubicBezTo>
                  <a:cubicBezTo>
                    <a:pt x="150" y="760"/>
                    <a:pt x="150" y="760"/>
                    <a:pt x="150" y="760"/>
                  </a:cubicBezTo>
                  <a:cubicBezTo>
                    <a:pt x="142" y="767"/>
                    <a:pt x="142" y="767"/>
                    <a:pt x="142" y="767"/>
                  </a:cubicBezTo>
                  <a:cubicBezTo>
                    <a:pt x="137" y="772"/>
                    <a:pt x="137" y="772"/>
                    <a:pt x="137" y="772"/>
                  </a:cubicBezTo>
                  <a:cubicBezTo>
                    <a:pt x="129" y="760"/>
                    <a:pt x="129" y="760"/>
                    <a:pt x="129" y="760"/>
                  </a:cubicBezTo>
                  <a:cubicBezTo>
                    <a:pt x="120" y="760"/>
                    <a:pt x="120" y="760"/>
                    <a:pt x="120" y="760"/>
                  </a:cubicBezTo>
                  <a:cubicBezTo>
                    <a:pt x="113" y="772"/>
                    <a:pt x="113" y="772"/>
                    <a:pt x="113" y="772"/>
                  </a:cubicBezTo>
                  <a:cubicBezTo>
                    <a:pt x="110" y="784"/>
                    <a:pt x="110" y="784"/>
                    <a:pt x="110" y="784"/>
                  </a:cubicBezTo>
                  <a:cubicBezTo>
                    <a:pt x="99" y="790"/>
                    <a:pt x="99" y="790"/>
                    <a:pt x="99" y="790"/>
                  </a:cubicBezTo>
                  <a:cubicBezTo>
                    <a:pt x="86" y="790"/>
                    <a:pt x="86" y="790"/>
                    <a:pt x="86" y="790"/>
                  </a:cubicBezTo>
                  <a:cubicBezTo>
                    <a:pt x="82" y="786"/>
                    <a:pt x="82" y="786"/>
                    <a:pt x="82" y="786"/>
                  </a:cubicBezTo>
                  <a:cubicBezTo>
                    <a:pt x="78" y="795"/>
                    <a:pt x="78" y="795"/>
                    <a:pt x="78" y="795"/>
                  </a:cubicBezTo>
                  <a:cubicBezTo>
                    <a:pt x="78" y="806"/>
                    <a:pt x="78" y="806"/>
                    <a:pt x="78" y="806"/>
                  </a:cubicBezTo>
                  <a:cubicBezTo>
                    <a:pt x="73" y="812"/>
                    <a:pt x="73" y="812"/>
                    <a:pt x="73" y="812"/>
                  </a:cubicBezTo>
                  <a:cubicBezTo>
                    <a:pt x="64" y="821"/>
                    <a:pt x="64" y="821"/>
                    <a:pt x="64" y="821"/>
                  </a:cubicBezTo>
                  <a:cubicBezTo>
                    <a:pt x="73" y="833"/>
                    <a:pt x="73" y="833"/>
                    <a:pt x="73" y="833"/>
                  </a:cubicBezTo>
                  <a:cubicBezTo>
                    <a:pt x="88" y="844"/>
                    <a:pt x="88" y="844"/>
                    <a:pt x="88" y="844"/>
                  </a:cubicBezTo>
                  <a:cubicBezTo>
                    <a:pt x="98" y="844"/>
                    <a:pt x="98" y="844"/>
                    <a:pt x="98" y="844"/>
                  </a:cubicBezTo>
                  <a:cubicBezTo>
                    <a:pt x="105" y="856"/>
                    <a:pt x="105" y="856"/>
                    <a:pt x="105" y="856"/>
                  </a:cubicBezTo>
                  <a:cubicBezTo>
                    <a:pt x="114" y="848"/>
                    <a:pt x="114" y="848"/>
                    <a:pt x="114" y="848"/>
                  </a:cubicBezTo>
                  <a:cubicBezTo>
                    <a:pt x="117" y="859"/>
                    <a:pt x="117" y="859"/>
                    <a:pt x="117" y="859"/>
                  </a:cubicBezTo>
                  <a:cubicBezTo>
                    <a:pt x="114" y="869"/>
                    <a:pt x="114" y="869"/>
                    <a:pt x="114" y="869"/>
                  </a:cubicBezTo>
                  <a:cubicBezTo>
                    <a:pt x="106" y="884"/>
                    <a:pt x="106" y="884"/>
                    <a:pt x="106" y="884"/>
                  </a:cubicBezTo>
                  <a:cubicBezTo>
                    <a:pt x="106" y="892"/>
                    <a:pt x="106" y="892"/>
                    <a:pt x="106" y="892"/>
                  </a:cubicBezTo>
                  <a:cubicBezTo>
                    <a:pt x="90" y="895"/>
                    <a:pt x="90" y="895"/>
                    <a:pt x="90" y="895"/>
                  </a:cubicBezTo>
                  <a:cubicBezTo>
                    <a:pt x="82" y="904"/>
                    <a:pt x="82" y="904"/>
                    <a:pt x="82" y="904"/>
                  </a:cubicBezTo>
                  <a:cubicBezTo>
                    <a:pt x="68" y="899"/>
                    <a:pt x="68" y="899"/>
                    <a:pt x="68" y="899"/>
                  </a:cubicBezTo>
                  <a:cubicBezTo>
                    <a:pt x="68" y="890"/>
                    <a:pt x="68" y="890"/>
                    <a:pt x="68" y="890"/>
                  </a:cubicBezTo>
                  <a:cubicBezTo>
                    <a:pt x="60" y="883"/>
                    <a:pt x="60" y="883"/>
                    <a:pt x="60" y="883"/>
                  </a:cubicBezTo>
                  <a:cubicBezTo>
                    <a:pt x="49" y="877"/>
                    <a:pt x="49" y="877"/>
                    <a:pt x="49" y="877"/>
                  </a:cubicBezTo>
                  <a:cubicBezTo>
                    <a:pt x="39" y="874"/>
                    <a:pt x="39" y="874"/>
                    <a:pt x="39" y="874"/>
                  </a:cubicBezTo>
                  <a:cubicBezTo>
                    <a:pt x="25" y="885"/>
                    <a:pt x="25" y="885"/>
                    <a:pt x="25" y="885"/>
                  </a:cubicBezTo>
                  <a:cubicBezTo>
                    <a:pt x="27" y="898"/>
                    <a:pt x="27" y="898"/>
                    <a:pt x="27" y="898"/>
                  </a:cubicBezTo>
                  <a:cubicBezTo>
                    <a:pt x="34" y="904"/>
                    <a:pt x="34" y="904"/>
                    <a:pt x="34" y="904"/>
                  </a:cubicBezTo>
                  <a:cubicBezTo>
                    <a:pt x="36" y="922"/>
                    <a:pt x="36" y="922"/>
                    <a:pt x="36" y="922"/>
                  </a:cubicBezTo>
                  <a:cubicBezTo>
                    <a:pt x="44" y="936"/>
                    <a:pt x="44" y="936"/>
                    <a:pt x="44" y="936"/>
                  </a:cubicBezTo>
                  <a:cubicBezTo>
                    <a:pt x="61" y="937"/>
                    <a:pt x="61" y="937"/>
                    <a:pt x="61" y="937"/>
                  </a:cubicBezTo>
                  <a:cubicBezTo>
                    <a:pt x="68" y="933"/>
                    <a:pt x="68" y="933"/>
                    <a:pt x="68" y="933"/>
                  </a:cubicBezTo>
                  <a:cubicBezTo>
                    <a:pt x="84" y="938"/>
                    <a:pt x="84" y="938"/>
                    <a:pt x="84" y="938"/>
                  </a:cubicBezTo>
                  <a:cubicBezTo>
                    <a:pt x="89" y="952"/>
                    <a:pt x="89" y="952"/>
                    <a:pt x="89" y="952"/>
                  </a:cubicBezTo>
                  <a:cubicBezTo>
                    <a:pt x="89" y="965"/>
                    <a:pt x="89" y="965"/>
                    <a:pt x="89" y="965"/>
                  </a:cubicBezTo>
                  <a:cubicBezTo>
                    <a:pt x="81" y="965"/>
                    <a:pt x="81" y="965"/>
                    <a:pt x="81" y="965"/>
                  </a:cubicBezTo>
                  <a:cubicBezTo>
                    <a:pt x="76" y="959"/>
                    <a:pt x="76" y="959"/>
                    <a:pt x="76" y="959"/>
                  </a:cubicBezTo>
                  <a:cubicBezTo>
                    <a:pt x="65" y="960"/>
                    <a:pt x="65" y="960"/>
                    <a:pt x="65" y="960"/>
                  </a:cubicBezTo>
                  <a:cubicBezTo>
                    <a:pt x="65" y="964"/>
                    <a:pt x="65" y="964"/>
                    <a:pt x="65" y="964"/>
                  </a:cubicBezTo>
                  <a:cubicBezTo>
                    <a:pt x="55" y="968"/>
                    <a:pt x="55" y="968"/>
                    <a:pt x="55" y="968"/>
                  </a:cubicBezTo>
                  <a:cubicBezTo>
                    <a:pt x="41" y="982"/>
                    <a:pt x="41" y="982"/>
                    <a:pt x="41" y="982"/>
                  </a:cubicBezTo>
                  <a:cubicBezTo>
                    <a:pt x="41" y="989"/>
                    <a:pt x="41" y="989"/>
                    <a:pt x="41" y="989"/>
                  </a:cubicBezTo>
                  <a:cubicBezTo>
                    <a:pt x="32" y="1001"/>
                    <a:pt x="32" y="1001"/>
                    <a:pt x="32" y="1001"/>
                  </a:cubicBezTo>
                  <a:cubicBezTo>
                    <a:pt x="32" y="1013"/>
                    <a:pt x="32" y="1013"/>
                    <a:pt x="32" y="1013"/>
                  </a:cubicBezTo>
                  <a:cubicBezTo>
                    <a:pt x="25" y="1013"/>
                    <a:pt x="25" y="1013"/>
                    <a:pt x="25" y="1013"/>
                  </a:cubicBezTo>
                  <a:cubicBezTo>
                    <a:pt x="16" y="1029"/>
                    <a:pt x="16" y="1029"/>
                    <a:pt x="16" y="1029"/>
                  </a:cubicBezTo>
                  <a:cubicBezTo>
                    <a:pt x="15" y="1039"/>
                    <a:pt x="15" y="1039"/>
                    <a:pt x="15" y="1039"/>
                  </a:cubicBezTo>
                  <a:cubicBezTo>
                    <a:pt x="4" y="1044"/>
                    <a:pt x="4" y="1044"/>
                    <a:pt x="4" y="1044"/>
                  </a:cubicBezTo>
                  <a:cubicBezTo>
                    <a:pt x="0" y="1051"/>
                    <a:pt x="0" y="1051"/>
                    <a:pt x="0" y="1051"/>
                  </a:cubicBezTo>
                  <a:cubicBezTo>
                    <a:pt x="24" y="1051"/>
                    <a:pt x="24" y="1051"/>
                    <a:pt x="24" y="1051"/>
                  </a:cubicBezTo>
                  <a:cubicBezTo>
                    <a:pt x="31" y="1048"/>
                    <a:pt x="31" y="1048"/>
                    <a:pt x="31" y="1048"/>
                  </a:cubicBezTo>
                  <a:cubicBezTo>
                    <a:pt x="42" y="1052"/>
                    <a:pt x="42" y="1052"/>
                    <a:pt x="42" y="1052"/>
                  </a:cubicBezTo>
                  <a:cubicBezTo>
                    <a:pt x="49" y="1052"/>
                    <a:pt x="49" y="1052"/>
                    <a:pt x="49" y="1052"/>
                  </a:cubicBezTo>
                  <a:cubicBezTo>
                    <a:pt x="54" y="1061"/>
                    <a:pt x="54" y="1061"/>
                    <a:pt x="54" y="1061"/>
                  </a:cubicBezTo>
                  <a:cubicBezTo>
                    <a:pt x="50" y="1069"/>
                    <a:pt x="50" y="1069"/>
                    <a:pt x="50" y="1069"/>
                  </a:cubicBezTo>
                  <a:cubicBezTo>
                    <a:pt x="38" y="1075"/>
                    <a:pt x="38" y="1075"/>
                    <a:pt x="38" y="1075"/>
                  </a:cubicBezTo>
                  <a:cubicBezTo>
                    <a:pt x="39" y="1084"/>
                    <a:pt x="39" y="1084"/>
                    <a:pt x="39" y="1084"/>
                  </a:cubicBezTo>
                  <a:cubicBezTo>
                    <a:pt x="46" y="1084"/>
                    <a:pt x="46" y="1084"/>
                    <a:pt x="46" y="1084"/>
                  </a:cubicBezTo>
                  <a:cubicBezTo>
                    <a:pt x="48" y="1094"/>
                    <a:pt x="48" y="1094"/>
                    <a:pt x="48" y="1094"/>
                  </a:cubicBezTo>
                  <a:cubicBezTo>
                    <a:pt x="53" y="1080"/>
                    <a:pt x="53" y="1080"/>
                    <a:pt x="53" y="1080"/>
                  </a:cubicBezTo>
                  <a:cubicBezTo>
                    <a:pt x="67" y="1084"/>
                    <a:pt x="67" y="1084"/>
                    <a:pt x="67" y="1084"/>
                  </a:cubicBezTo>
                  <a:cubicBezTo>
                    <a:pt x="78" y="1080"/>
                    <a:pt x="78" y="1080"/>
                    <a:pt x="78" y="1080"/>
                  </a:cubicBezTo>
                  <a:cubicBezTo>
                    <a:pt x="83" y="1068"/>
                    <a:pt x="83" y="1068"/>
                    <a:pt x="83" y="1068"/>
                  </a:cubicBezTo>
                  <a:cubicBezTo>
                    <a:pt x="78" y="1052"/>
                    <a:pt x="78" y="1052"/>
                    <a:pt x="78" y="1052"/>
                  </a:cubicBezTo>
                  <a:cubicBezTo>
                    <a:pt x="89" y="1047"/>
                    <a:pt x="89" y="1047"/>
                    <a:pt x="89" y="1047"/>
                  </a:cubicBezTo>
                  <a:cubicBezTo>
                    <a:pt x="107" y="1046"/>
                    <a:pt x="107" y="1046"/>
                    <a:pt x="107" y="1046"/>
                  </a:cubicBezTo>
                  <a:cubicBezTo>
                    <a:pt x="118" y="1058"/>
                    <a:pt x="118" y="1058"/>
                    <a:pt x="118" y="1058"/>
                  </a:cubicBezTo>
                  <a:cubicBezTo>
                    <a:pt x="127" y="1058"/>
                    <a:pt x="127" y="1058"/>
                    <a:pt x="127" y="1058"/>
                  </a:cubicBezTo>
                  <a:cubicBezTo>
                    <a:pt x="136" y="1049"/>
                    <a:pt x="136" y="1049"/>
                    <a:pt x="136" y="1049"/>
                  </a:cubicBezTo>
                  <a:cubicBezTo>
                    <a:pt x="127" y="1040"/>
                    <a:pt x="127" y="1040"/>
                    <a:pt x="127" y="1040"/>
                  </a:cubicBezTo>
                  <a:cubicBezTo>
                    <a:pt x="119" y="1033"/>
                    <a:pt x="119" y="1033"/>
                    <a:pt x="119" y="1033"/>
                  </a:cubicBezTo>
                  <a:cubicBezTo>
                    <a:pt x="112" y="1028"/>
                    <a:pt x="112" y="1028"/>
                    <a:pt x="112" y="1028"/>
                  </a:cubicBezTo>
                  <a:cubicBezTo>
                    <a:pt x="121" y="1019"/>
                    <a:pt x="121" y="1019"/>
                    <a:pt x="121" y="1019"/>
                  </a:cubicBezTo>
                  <a:cubicBezTo>
                    <a:pt x="117" y="1009"/>
                    <a:pt x="117" y="1009"/>
                    <a:pt x="117" y="1009"/>
                  </a:cubicBezTo>
                  <a:cubicBezTo>
                    <a:pt x="121" y="994"/>
                    <a:pt x="121" y="994"/>
                    <a:pt x="121" y="994"/>
                  </a:cubicBezTo>
                  <a:cubicBezTo>
                    <a:pt x="135" y="994"/>
                    <a:pt x="135" y="994"/>
                    <a:pt x="135" y="994"/>
                  </a:cubicBezTo>
                  <a:cubicBezTo>
                    <a:pt x="151" y="1002"/>
                    <a:pt x="151" y="1002"/>
                    <a:pt x="151" y="1002"/>
                  </a:cubicBezTo>
                  <a:cubicBezTo>
                    <a:pt x="161" y="1012"/>
                    <a:pt x="161" y="1012"/>
                    <a:pt x="161" y="1012"/>
                  </a:cubicBezTo>
                  <a:cubicBezTo>
                    <a:pt x="173" y="1008"/>
                    <a:pt x="173" y="1008"/>
                    <a:pt x="173" y="1008"/>
                  </a:cubicBezTo>
                  <a:cubicBezTo>
                    <a:pt x="190" y="1012"/>
                    <a:pt x="190" y="1012"/>
                    <a:pt x="190" y="1012"/>
                  </a:cubicBezTo>
                  <a:close/>
                  <a:moveTo>
                    <a:pt x="846" y="84"/>
                  </a:moveTo>
                  <a:cubicBezTo>
                    <a:pt x="840" y="91"/>
                    <a:pt x="840" y="91"/>
                    <a:pt x="840" y="91"/>
                  </a:cubicBezTo>
                  <a:cubicBezTo>
                    <a:pt x="832" y="97"/>
                    <a:pt x="832" y="97"/>
                    <a:pt x="832" y="97"/>
                  </a:cubicBezTo>
                  <a:cubicBezTo>
                    <a:pt x="839" y="102"/>
                    <a:pt x="839" y="102"/>
                    <a:pt x="839" y="102"/>
                  </a:cubicBezTo>
                  <a:cubicBezTo>
                    <a:pt x="845" y="97"/>
                    <a:pt x="845" y="97"/>
                    <a:pt x="845" y="97"/>
                  </a:cubicBezTo>
                  <a:cubicBezTo>
                    <a:pt x="853" y="97"/>
                    <a:pt x="853" y="97"/>
                    <a:pt x="853" y="97"/>
                  </a:cubicBezTo>
                  <a:cubicBezTo>
                    <a:pt x="861" y="90"/>
                    <a:pt x="861" y="90"/>
                    <a:pt x="861" y="90"/>
                  </a:cubicBezTo>
                  <a:cubicBezTo>
                    <a:pt x="854" y="82"/>
                    <a:pt x="854" y="82"/>
                    <a:pt x="854" y="82"/>
                  </a:cubicBezTo>
                  <a:lnTo>
                    <a:pt x="846" y="84"/>
                  </a:lnTo>
                  <a:close/>
                  <a:moveTo>
                    <a:pt x="825" y="17"/>
                  </a:moveTo>
                  <a:cubicBezTo>
                    <a:pt x="819" y="22"/>
                    <a:pt x="819" y="22"/>
                    <a:pt x="819" y="22"/>
                  </a:cubicBezTo>
                  <a:cubicBezTo>
                    <a:pt x="823" y="27"/>
                    <a:pt x="823" y="27"/>
                    <a:pt x="823" y="27"/>
                  </a:cubicBezTo>
                  <a:cubicBezTo>
                    <a:pt x="830" y="22"/>
                    <a:pt x="830" y="22"/>
                    <a:pt x="830" y="22"/>
                  </a:cubicBezTo>
                  <a:cubicBezTo>
                    <a:pt x="839" y="25"/>
                    <a:pt x="839" y="25"/>
                    <a:pt x="839" y="25"/>
                  </a:cubicBezTo>
                  <a:cubicBezTo>
                    <a:pt x="837" y="19"/>
                    <a:pt x="837" y="19"/>
                    <a:pt x="837" y="19"/>
                  </a:cubicBezTo>
                  <a:cubicBezTo>
                    <a:pt x="825" y="17"/>
                    <a:pt x="825" y="17"/>
                    <a:pt x="825" y="17"/>
                  </a:cubicBezTo>
                  <a:close/>
                  <a:moveTo>
                    <a:pt x="797" y="41"/>
                  </a:moveTo>
                  <a:cubicBezTo>
                    <a:pt x="794" y="49"/>
                    <a:pt x="794" y="49"/>
                    <a:pt x="794" y="49"/>
                  </a:cubicBezTo>
                  <a:cubicBezTo>
                    <a:pt x="799" y="53"/>
                    <a:pt x="799" y="53"/>
                    <a:pt x="799" y="53"/>
                  </a:cubicBezTo>
                  <a:cubicBezTo>
                    <a:pt x="804" y="47"/>
                    <a:pt x="804" y="47"/>
                    <a:pt x="804" y="47"/>
                  </a:cubicBezTo>
                  <a:cubicBezTo>
                    <a:pt x="797" y="41"/>
                    <a:pt x="797" y="41"/>
                    <a:pt x="797" y="41"/>
                  </a:cubicBezTo>
                  <a:close/>
                  <a:moveTo>
                    <a:pt x="732" y="2"/>
                  </a:moveTo>
                  <a:cubicBezTo>
                    <a:pt x="725" y="7"/>
                    <a:pt x="725" y="7"/>
                    <a:pt x="725" y="7"/>
                  </a:cubicBezTo>
                  <a:cubicBezTo>
                    <a:pt x="728" y="12"/>
                    <a:pt x="728" y="12"/>
                    <a:pt x="728" y="12"/>
                  </a:cubicBezTo>
                  <a:cubicBezTo>
                    <a:pt x="723" y="19"/>
                    <a:pt x="723" y="19"/>
                    <a:pt x="723" y="19"/>
                  </a:cubicBezTo>
                  <a:cubicBezTo>
                    <a:pt x="724" y="23"/>
                    <a:pt x="724" y="23"/>
                    <a:pt x="724" y="23"/>
                  </a:cubicBezTo>
                  <a:cubicBezTo>
                    <a:pt x="735" y="26"/>
                    <a:pt x="735" y="26"/>
                    <a:pt x="735" y="26"/>
                  </a:cubicBezTo>
                  <a:cubicBezTo>
                    <a:pt x="745" y="21"/>
                    <a:pt x="745" y="21"/>
                    <a:pt x="745" y="21"/>
                  </a:cubicBezTo>
                  <a:cubicBezTo>
                    <a:pt x="751" y="22"/>
                    <a:pt x="751" y="22"/>
                    <a:pt x="751" y="22"/>
                  </a:cubicBezTo>
                  <a:cubicBezTo>
                    <a:pt x="751" y="16"/>
                    <a:pt x="751" y="16"/>
                    <a:pt x="751" y="16"/>
                  </a:cubicBezTo>
                  <a:cubicBezTo>
                    <a:pt x="742" y="13"/>
                    <a:pt x="742" y="13"/>
                    <a:pt x="742" y="13"/>
                  </a:cubicBezTo>
                  <a:cubicBezTo>
                    <a:pt x="747" y="8"/>
                    <a:pt x="747" y="8"/>
                    <a:pt x="747" y="8"/>
                  </a:cubicBezTo>
                  <a:cubicBezTo>
                    <a:pt x="741" y="0"/>
                    <a:pt x="741" y="0"/>
                    <a:pt x="741" y="0"/>
                  </a:cubicBezTo>
                  <a:cubicBezTo>
                    <a:pt x="734" y="2"/>
                    <a:pt x="734" y="2"/>
                    <a:pt x="734" y="2"/>
                  </a:cubicBezTo>
                  <a:lnTo>
                    <a:pt x="732" y="2"/>
                  </a:lnTo>
                  <a:close/>
                </a:path>
              </a:pathLst>
            </a:custGeom>
            <a:solidFill>
              <a:srgbClr val="293D6D">
                <a:lumMod val="75000"/>
              </a:srgbClr>
            </a:solidFill>
            <a:ln w="7938" cap="flat">
              <a:solidFill>
                <a:sysClr val="window" lastClr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9B517F33-694A-8306-A02A-A19F3622EE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33" y="665"/>
              <a:ext cx="2262" cy="2565"/>
            </a:xfrm>
            <a:custGeom>
              <a:avLst/>
              <a:gdLst>
                <a:gd name="T0" fmla="*/ 1028 w 1695"/>
                <a:gd name="T1" fmla="*/ 974 h 1921"/>
                <a:gd name="T2" fmla="*/ 992 w 1695"/>
                <a:gd name="T3" fmla="*/ 859 h 1921"/>
                <a:gd name="T4" fmla="*/ 971 w 1695"/>
                <a:gd name="T5" fmla="*/ 700 h 1921"/>
                <a:gd name="T6" fmla="*/ 1056 w 1695"/>
                <a:gd name="T7" fmla="*/ 586 h 1921"/>
                <a:gd name="T8" fmla="*/ 995 w 1695"/>
                <a:gd name="T9" fmla="*/ 466 h 1921"/>
                <a:gd name="T10" fmla="*/ 974 w 1695"/>
                <a:gd name="T11" fmla="*/ 457 h 1921"/>
                <a:gd name="T12" fmla="*/ 948 w 1695"/>
                <a:gd name="T13" fmla="*/ 432 h 1921"/>
                <a:gd name="T14" fmla="*/ 990 w 1695"/>
                <a:gd name="T15" fmla="*/ 305 h 1921"/>
                <a:gd name="T16" fmla="*/ 895 w 1695"/>
                <a:gd name="T17" fmla="*/ 274 h 1921"/>
                <a:gd name="T18" fmla="*/ 827 w 1695"/>
                <a:gd name="T19" fmla="*/ 215 h 1921"/>
                <a:gd name="T20" fmla="*/ 781 w 1695"/>
                <a:gd name="T21" fmla="*/ 327 h 1921"/>
                <a:gd name="T22" fmla="*/ 687 w 1695"/>
                <a:gd name="T23" fmla="*/ 350 h 1921"/>
                <a:gd name="T24" fmla="*/ 582 w 1695"/>
                <a:gd name="T25" fmla="*/ 432 h 1921"/>
                <a:gd name="T26" fmla="*/ 522 w 1695"/>
                <a:gd name="T27" fmla="*/ 488 h 1921"/>
                <a:gd name="T28" fmla="*/ 491 w 1695"/>
                <a:gd name="T29" fmla="*/ 601 h 1921"/>
                <a:gd name="T30" fmla="*/ 435 w 1695"/>
                <a:gd name="T31" fmla="*/ 575 h 1921"/>
                <a:gd name="T32" fmla="*/ 431 w 1695"/>
                <a:gd name="T33" fmla="*/ 673 h 1921"/>
                <a:gd name="T34" fmla="*/ 459 w 1695"/>
                <a:gd name="T35" fmla="*/ 738 h 1921"/>
                <a:gd name="T36" fmla="*/ 455 w 1695"/>
                <a:gd name="T37" fmla="*/ 842 h 1921"/>
                <a:gd name="T38" fmla="*/ 483 w 1695"/>
                <a:gd name="T39" fmla="*/ 953 h 1921"/>
                <a:gd name="T40" fmla="*/ 511 w 1695"/>
                <a:gd name="T41" fmla="*/ 1074 h 1921"/>
                <a:gd name="T42" fmla="*/ 470 w 1695"/>
                <a:gd name="T43" fmla="*/ 1245 h 1921"/>
                <a:gd name="T44" fmla="*/ 248 w 1695"/>
                <a:gd name="T45" fmla="*/ 1260 h 1921"/>
                <a:gd name="T46" fmla="*/ 103 w 1695"/>
                <a:gd name="T47" fmla="*/ 1348 h 1921"/>
                <a:gd name="T48" fmla="*/ 32 w 1695"/>
                <a:gd name="T49" fmla="*/ 1361 h 1921"/>
                <a:gd name="T50" fmla="*/ 11 w 1695"/>
                <a:gd name="T51" fmla="*/ 1452 h 1921"/>
                <a:gd name="T52" fmla="*/ 45 w 1695"/>
                <a:gd name="T53" fmla="*/ 1553 h 1921"/>
                <a:gd name="T54" fmla="*/ 134 w 1695"/>
                <a:gd name="T55" fmla="*/ 1597 h 1921"/>
                <a:gd name="T56" fmla="*/ 212 w 1695"/>
                <a:gd name="T57" fmla="*/ 1644 h 1921"/>
                <a:gd name="T58" fmla="*/ 310 w 1695"/>
                <a:gd name="T59" fmla="*/ 1787 h 1921"/>
                <a:gd name="T60" fmla="*/ 433 w 1695"/>
                <a:gd name="T61" fmla="*/ 1851 h 1921"/>
                <a:gd name="T62" fmla="*/ 575 w 1695"/>
                <a:gd name="T63" fmla="*/ 1903 h 1921"/>
                <a:gd name="T64" fmla="*/ 747 w 1695"/>
                <a:gd name="T65" fmla="*/ 1840 h 1921"/>
                <a:gd name="T66" fmla="*/ 936 w 1695"/>
                <a:gd name="T67" fmla="*/ 1831 h 1921"/>
                <a:gd name="T68" fmla="*/ 1044 w 1695"/>
                <a:gd name="T69" fmla="*/ 1753 h 1921"/>
                <a:gd name="T70" fmla="*/ 1266 w 1695"/>
                <a:gd name="T71" fmla="*/ 1792 h 1921"/>
                <a:gd name="T72" fmla="*/ 1485 w 1695"/>
                <a:gd name="T73" fmla="*/ 1752 h 1921"/>
                <a:gd name="T74" fmla="*/ 1691 w 1695"/>
                <a:gd name="T75" fmla="*/ 1653 h 1921"/>
                <a:gd name="T76" fmla="*/ 1656 w 1695"/>
                <a:gd name="T77" fmla="*/ 1479 h 1921"/>
                <a:gd name="T78" fmla="*/ 1649 w 1695"/>
                <a:gd name="T79" fmla="*/ 1365 h 1921"/>
                <a:gd name="T80" fmla="*/ 1571 w 1695"/>
                <a:gd name="T81" fmla="*/ 1317 h 1921"/>
                <a:gd name="T82" fmla="*/ 1490 w 1695"/>
                <a:gd name="T83" fmla="*/ 1224 h 1921"/>
                <a:gd name="T84" fmla="*/ 1402 w 1695"/>
                <a:gd name="T85" fmla="*/ 1158 h 1921"/>
                <a:gd name="T86" fmla="*/ 1294 w 1695"/>
                <a:gd name="T87" fmla="*/ 1244 h 1921"/>
                <a:gd name="T88" fmla="*/ 1192 w 1695"/>
                <a:gd name="T89" fmla="*/ 1224 h 1921"/>
                <a:gd name="T90" fmla="*/ 1163 w 1695"/>
                <a:gd name="T91" fmla="*/ 1087 h 1921"/>
                <a:gd name="T92" fmla="*/ 1107 w 1695"/>
                <a:gd name="T93" fmla="*/ 1007 h 1921"/>
                <a:gd name="T94" fmla="*/ 854 w 1695"/>
                <a:gd name="T95" fmla="*/ 179 h 1921"/>
                <a:gd name="T96" fmla="*/ 759 w 1695"/>
                <a:gd name="T97" fmla="*/ 193 h 1921"/>
                <a:gd name="T98" fmla="*/ 799 w 1695"/>
                <a:gd name="T99" fmla="*/ 126 h 1921"/>
                <a:gd name="T100" fmla="*/ 682 w 1695"/>
                <a:gd name="T101" fmla="*/ 98 h 1921"/>
                <a:gd name="T102" fmla="*/ 736 w 1695"/>
                <a:gd name="T103" fmla="*/ 161 h 1921"/>
                <a:gd name="T104" fmla="*/ 716 w 1695"/>
                <a:gd name="T105" fmla="*/ 280 h 1921"/>
                <a:gd name="T106" fmla="*/ 508 w 1695"/>
                <a:gd name="T107" fmla="*/ 374 h 1921"/>
                <a:gd name="T108" fmla="*/ 467 w 1695"/>
                <a:gd name="T109" fmla="*/ 98 h 1921"/>
                <a:gd name="T110" fmla="*/ 521 w 1695"/>
                <a:gd name="T111" fmla="*/ 17 h 1921"/>
                <a:gd name="T112" fmla="*/ 636 w 1695"/>
                <a:gd name="T113" fmla="*/ 7 h 1921"/>
                <a:gd name="T114" fmla="*/ 691 w 1695"/>
                <a:gd name="T115" fmla="*/ 76 h 1921"/>
                <a:gd name="T116" fmla="*/ 647 w 1695"/>
                <a:gd name="T117" fmla="*/ 100 h 1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695" h="1921">
                  <a:moveTo>
                    <a:pt x="1098" y="998"/>
                  </a:moveTo>
                  <a:cubicBezTo>
                    <a:pt x="1097" y="990"/>
                    <a:pt x="1097" y="990"/>
                    <a:pt x="1097" y="990"/>
                  </a:cubicBezTo>
                  <a:cubicBezTo>
                    <a:pt x="1088" y="989"/>
                    <a:pt x="1088" y="989"/>
                    <a:pt x="1088" y="989"/>
                  </a:cubicBezTo>
                  <a:cubicBezTo>
                    <a:pt x="1080" y="996"/>
                    <a:pt x="1080" y="996"/>
                    <a:pt x="1080" y="996"/>
                  </a:cubicBezTo>
                  <a:cubicBezTo>
                    <a:pt x="1071" y="992"/>
                    <a:pt x="1071" y="992"/>
                    <a:pt x="1071" y="992"/>
                  </a:cubicBezTo>
                  <a:cubicBezTo>
                    <a:pt x="1059" y="997"/>
                    <a:pt x="1059" y="997"/>
                    <a:pt x="1059" y="997"/>
                  </a:cubicBezTo>
                  <a:cubicBezTo>
                    <a:pt x="1053" y="990"/>
                    <a:pt x="1053" y="990"/>
                    <a:pt x="1053" y="990"/>
                  </a:cubicBezTo>
                  <a:cubicBezTo>
                    <a:pt x="1047" y="990"/>
                    <a:pt x="1047" y="990"/>
                    <a:pt x="1047" y="990"/>
                  </a:cubicBezTo>
                  <a:cubicBezTo>
                    <a:pt x="1042" y="995"/>
                    <a:pt x="1042" y="995"/>
                    <a:pt x="1042" y="995"/>
                  </a:cubicBezTo>
                  <a:cubicBezTo>
                    <a:pt x="1031" y="995"/>
                    <a:pt x="1031" y="995"/>
                    <a:pt x="1031" y="995"/>
                  </a:cubicBezTo>
                  <a:cubicBezTo>
                    <a:pt x="1024" y="992"/>
                    <a:pt x="1024" y="992"/>
                    <a:pt x="1024" y="992"/>
                  </a:cubicBezTo>
                  <a:cubicBezTo>
                    <a:pt x="1024" y="978"/>
                    <a:pt x="1024" y="978"/>
                    <a:pt x="1024" y="978"/>
                  </a:cubicBezTo>
                  <a:cubicBezTo>
                    <a:pt x="1028" y="974"/>
                    <a:pt x="1028" y="974"/>
                    <a:pt x="1028" y="974"/>
                  </a:cubicBezTo>
                  <a:cubicBezTo>
                    <a:pt x="1028" y="965"/>
                    <a:pt x="1028" y="965"/>
                    <a:pt x="1028" y="965"/>
                  </a:cubicBezTo>
                  <a:cubicBezTo>
                    <a:pt x="1025" y="956"/>
                    <a:pt x="1025" y="956"/>
                    <a:pt x="1025" y="956"/>
                  </a:cubicBezTo>
                  <a:cubicBezTo>
                    <a:pt x="1032" y="943"/>
                    <a:pt x="1032" y="943"/>
                    <a:pt x="1032" y="943"/>
                  </a:cubicBezTo>
                  <a:cubicBezTo>
                    <a:pt x="1037" y="930"/>
                    <a:pt x="1037" y="930"/>
                    <a:pt x="1037" y="930"/>
                  </a:cubicBezTo>
                  <a:cubicBezTo>
                    <a:pt x="1023" y="916"/>
                    <a:pt x="1023" y="916"/>
                    <a:pt x="1023" y="916"/>
                  </a:cubicBezTo>
                  <a:cubicBezTo>
                    <a:pt x="1020" y="898"/>
                    <a:pt x="1020" y="898"/>
                    <a:pt x="1020" y="898"/>
                  </a:cubicBezTo>
                  <a:cubicBezTo>
                    <a:pt x="1008" y="892"/>
                    <a:pt x="1008" y="892"/>
                    <a:pt x="1008" y="892"/>
                  </a:cubicBezTo>
                  <a:cubicBezTo>
                    <a:pt x="1008" y="880"/>
                    <a:pt x="1008" y="880"/>
                    <a:pt x="1008" y="880"/>
                  </a:cubicBezTo>
                  <a:cubicBezTo>
                    <a:pt x="1013" y="876"/>
                    <a:pt x="1013" y="876"/>
                    <a:pt x="1013" y="876"/>
                  </a:cubicBezTo>
                  <a:cubicBezTo>
                    <a:pt x="1008" y="871"/>
                    <a:pt x="1008" y="871"/>
                    <a:pt x="1008" y="871"/>
                  </a:cubicBezTo>
                  <a:cubicBezTo>
                    <a:pt x="1008" y="861"/>
                    <a:pt x="1008" y="861"/>
                    <a:pt x="1008" y="861"/>
                  </a:cubicBezTo>
                  <a:cubicBezTo>
                    <a:pt x="995" y="856"/>
                    <a:pt x="995" y="856"/>
                    <a:pt x="995" y="856"/>
                  </a:cubicBezTo>
                  <a:cubicBezTo>
                    <a:pt x="992" y="859"/>
                    <a:pt x="992" y="859"/>
                    <a:pt x="992" y="859"/>
                  </a:cubicBezTo>
                  <a:cubicBezTo>
                    <a:pt x="988" y="848"/>
                    <a:pt x="988" y="848"/>
                    <a:pt x="988" y="848"/>
                  </a:cubicBezTo>
                  <a:cubicBezTo>
                    <a:pt x="994" y="842"/>
                    <a:pt x="994" y="842"/>
                    <a:pt x="994" y="842"/>
                  </a:cubicBezTo>
                  <a:cubicBezTo>
                    <a:pt x="1001" y="831"/>
                    <a:pt x="1001" y="831"/>
                    <a:pt x="1001" y="831"/>
                  </a:cubicBezTo>
                  <a:cubicBezTo>
                    <a:pt x="1011" y="828"/>
                    <a:pt x="1011" y="828"/>
                    <a:pt x="1011" y="828"/>
                  </a:cubicBezTo>
                  <a:cubicBezTo>
                    <a:pt x="1007" y="802"/>
                    <a:pt x="1007" y="802"/>
                    <a:pt x="1007" y="802"/>
                  </a:cubicBezTo>
                  <a:cubicBezTo>
                    <a:pt x="1004" y="786"/>
                    <a:pt x="1004" y="786"/>
                    <a:pt x="1004" y="786"/>
                  </a:cubicBezTo>
                  <a:cubicBezTo>
                    <a:pt x="1004" y="777"/>
                    <a:pt x="1004" y="777"/>
                    <a:pt x="1004" y="777"/>
                  </a:cubicBezTo>
                  <a:cubicBezTo>
                    <a:pt x="993" y="756"/>
                    <a:pt x="993" y="756"/>
                    <a:pt x="993" y="756"/>
                  </a:cubicBezTo>
                  <a:cubicBezTo>
                    <a:pt x="991" y="734"/>
                    <a:pt x="991" y="734"/>
                    <a:pt x="991" y="734"/>
                  </a:cubicBezTo>
                  <a:cubicBezTo>
                    <a:pt x="980" y="726"/>
                    <a:pt x="980" y="726"/>
                    <a:pt x="980" y="726"/>
                  </a:cubicBezTo>
                  <a:cubicBezTo>
                    <a:pt x="975" y="714"/>
                    <a:pt x="975" y="714"/>
                    <a:pt x="975" y="714"/>
                  </a:cubicBezTo>
                  <a:cubicBezTo>
                    <a:pt x="971" y="705"/>
                    <a:pt x="971" y="705"/>
                    <a:pt x="971" y="705"/>
                  </a:cubicBezTo>
                  <a:cubicBezTo>
                    <a:pt x="971" y="700"/>
                    <a:pt x="971" y="700"/>
                    <a:pt x="971" y="700"/>
                  </a:cubicBezTo>
                  <a:cubicBezTo>
                    <a:pt x="985" y="694"/>
                    <a:pt x="985" y="694"/>
                    <a:pt x="985" y="694"/>
                  </a:cubicBezTo>
                  <a:cubicBezTo>
                    <a:pt x="1000" y="674"/>
                    <a:pt x="1000" y="674"/>
                    <a:pt x="1000" y="674"/>
                  </a:cubicBezTo>
                  <a:cubicBezTo>
                    <a:pt x="1010" y="671"/>
                    <a:pt x="1010" y="671"/>
                    <a:pt x="1010" y="671"/>
                  </a:cubicBezTo>
                  <a:cubicBezTo>
                    <a:pt x="1023" y="675"/>
                    <a:pt x="1023" y="675"/>
                    <a:pt x="1023" y="675"/>
                  </a:cubicBezTo>
                  <a:cubicBezTo>
                    <a:pt x="1027" y="666"/>
                    <a:pt x="1027" y="666"/>
                    <a:pt x="1027" y="666"/>
                  </a:cubicBezTo>
                  <a:cubicBezTo>
                    <a:pt x="1027" y="655"/>
                    <a:pt x="1027" y="655"/>
                    <a:pt x="1027" y="655"/>
                  </a:cubicBezTo>
                  <a:cubicBezTo>
                    <a:pt x="1020" y="647"/>
                    <a:pt x="1020" y="647"/>
                    <a:pt x="1020" y="647"/>
                  </a:cubicBezTo>
                  <a:cubicBezTo>
                    <a:pt x="1023" y="634"/>
                    <a:pt x="1023" y="634"/>
                    <a:pt x="1023" y="634"/>
                  </a:cubicBezTo>
                  <a:cubicBezTo>
                    <a:pt x="1033" y="631"/>
                    <a:pt x="1033" y="631"/>
                    <a:pt x="1033" y="631"/>
                  </a:cubicBezTo>
                  <a:cubicBezTo>
                    <a:pt x="1033" y="620"/>
                    <a:pt x="1033" y="620"/>
                    <a:pt x="1033" y="620"/>
                  </a:cubicBezTo>
                  <a:cubicBezTo>
                    <a:pt x="1033" y="607"/>
                    <a:pt x="1033" y="607"/>
                    <a:pt x="1033" y="607"/>
                  </a:cubicBezTo>
                  <a:cubicBezTo>
                    <a:pt x="1044" y="599"/>
                    <a:pt x="1044" y="599"/>
                    <a:pt x="1044" y="599"/>
                  </a:cubicBezTo>
                  <a:cubicBezTo>
                    <a:pt x="1056" y="586"/>
                    <a:pt x="1056" y="586"/>
                    <a:pt x="1056" y="586"/>
                  </a:cubicBezTo>
                  <a:cubicBezTo>
                    <a:pt x="1059" y="577"/>
                    <a:pt x="1059" y="577"/>
                    <a:pt x="1059" y="577"/>
                  </a:cubicBezTo>
                  <a:cubicBezTo>
                    <a:pt x="1065" y="577"/>
                    <a:pt x="1065" y="577"/>
                    <a:pt x="1065" y="577"/>
                  </a:cubicBezTo>
                  <a:cubicBezTo>
                    <a:pt x="1064" y="564"/>
                    <a:pt x="1064" y="564"/>
                    <a:pt x="1064" y="564"/>
                  </a:cubicBezTo>
                  <a:cubicBezTo>
                    <a:pt x="1053" y="564"/>
                    <a:pt x="1053" y="564"/>
                    <a:pt x="1053" y="564"/>
                  </a:cubicBezTo>
                  <a:cubicBezTo>
                    <a:pt x="1044" y="546"/>
                    <a:pt x="1044" y="546"/>
                    <a:pt x="1044" y="546"/>
                  </a:cubicBezTo>
                  <a:cubicBezTo>
                    <a:pt x="1044" y="529"/>
                    <a:pt x="1044" y="529"/>
                    <a:pt x="1044" y="529"/>
                  </a:cubicBezTo>
                  <a:cubicBezTo>
                    <a:pt x="1035" y="521"/>
                    <a:pt x="1035" y="521"/>
                    <a:pt x="1035" y="521"/>
                  </a:cubicBezTo>
                  <a:cubicBezTo>
                    <a:pt x="1017" y="508"/>
                    <a:pt x="1017" y="508"/>
                    <a:pt x="1017" y="508"/>
                  </a:cubicBezTo>
                  <a:cubicBezTo>
                    <a:pt x="1017" y="501"/>
                    <a:pt x="1017" y="501"/>
                    <a:pt x="1017" y="501"/>
                  </a:cubicBezTo>
                  <a:cubicBezTo>
                    <a:pt x="1004" y="496"/>
                    <a:pt x="1004" y="496"/>
                    <a:pt x="1004" y="496"/>
                  </a:cubicBezTo>
                  <a:cubicBezTo>
                    <a:pt x="999" y="486"/>
                    <a:pt x="999" y="486"/>
                    <a:pt x="999" y="486"/>
                  </a:cubicBezTo>
                  <a:cubicBezTo>
                    <a:pt x="1001" y="472"/>
                    <a:pt x="1001" y="472"/>
                    <a:pt x="1001" y="472"/>
                  </a:cubicBezTo>
                  <a:cubicBezTo>
                    <a:pt x="995" y="466"/>
                    <a:pt x="995" y="466"/>
                    <a:pt x="995" y="466"/>
                  </a:cubicBezTo>
                  <a:cubicBezTo>
                    <a:pt x="989" y="458"/>
                    <a:pt x="989" y="458"/>
                    <a:pt x="989" y="458"/>
                  </a:cubicBezTo>
                  <a:cubicBezTo>
                    <a:pt x="986" y="450"/>
                    <a:pt x="986" y="450"/>
                    <a:pt x="986" y="450"/>
                  </a:cubicBezTo>
                  <a:cubicBezTo>
                    <a:pt x="991" y="445"/>
                    <a:pt x="991" y="445"/>
                    <a:pt x="991" y="445"/>
                  </a:cubicBezTo>
                  <a:cubicBezTo>
                    <a:pt x="992" y="439"/>
                    <a:pt x="992" y="439"/>
                    <a:pt x="992" y="439"/>
                  </a:cubicBezTo>
                  <a:cubicBezTo>
                    <a:pt x="987" y="434"/>
                    <a:pt x="987" y="434"/>
                    <a:pt x="987" y="434"/>
                  </a:cubicBezTo>
                  <a:cubicBezTo>
                    <a:pt x="985" y="423"/>
                    <a:pt x="985" y="423"/>
                    <a:pt x="985" y="423"/>
                  </a:cubicBezTo>
                  <a:cubicBezTo>
                    <a:pt x="977" y="423"/>
                    <a:pt x="977" y="423"/>
                    <a:pt x="977" y="423"/>
                  </a:cubicBezTo>
                  <a:cubicBezTo>
                    <a:pt x="967" y="423"/>
                    <a:pt x="967" y="423"/>
                    <a:pt x="967" y="423"/>
                  </a:cubicBezTo>
                  <a:cubicBezTo>
                    <a:pt x="968" y="434"/>
                    <a:pt x="968" y="434"/>
                    <a:pt x="968" y="434"/>
                  </a:cubicBezTo>
                  <a:cubicBezTo>
                    <a:pt x="967" y="439"/>
                    <a:pt x="967" y="439"/>
                    <a:pt x="967" y="439"/>
                  </a:cubicBezTo>
                  <a:cubicBezTo>
                    <a:pt x="975" y="440"/>
                    <a:pt x="975" y="440"/>
                    <a:pt x="975" y="440"/>
                  </a:cubicBezTo>
                  <a:cubicBezTo>
                    <a:pt x="980" y="445"/>
                    <a:pt x="980" y="445"/>
                    <a:pt x="980" y="445"/>
                  </a:cubicBezTo>
                  <a:cubicBezTo>
                    <a:pt x="974" y="457"/>
                    <a:pt x="974" y="457"/>
                    <a:pt x="974" y="457"/>
                  </a:cubicBezTo>
                  <a:cubicBezTo>
                    <a:pt x="963" y="461"/>
                    <a:pt x="963" y="461"/>
                    <a:pt x="963" y="461"/>
                  </a:cubicBezTo>
                  <a:cubicBezTo>
                    <a:pt x="952" y="471"/>
                    <a:pt x="952" y="471"/>
                    <a:pt x="952" y="471"/>
                  </a:cubicBezTo>
                  <a:cubicBezTo>
                    <a:pt x="952" y="471"/>
                    <a:pt x="950" y="483"/>
                    <a:pt x="944" y="483"/>
                  </a:cubicBezTo>
                  <a:cubicBezTo>
                    <a:pt x="938" y="483"/>
                    <a:pt x="927" y="486"/>
                    <a:pt x="927" y="486"/>
                  </a:cubicBezTo>
                  <a:cubicBezTo>
                    <a:pt x="915" y="493"/>
                    <a:pt x="915" y="493"/>
                    <a:pt x="915" y="493"/>
                  </a:cubicBezTo>
                  <a:cubicBezTo>
                    <a:pt x="918" y="507"/>
                    <a:pt x="918" y="507"/>
                    <a:pt x="918" y="507"/>
                  </a:cubicBezTo>
                  <a:cubicBezTo>
                    <a:pt x="906" y="512"/>
                    <a:pt x="906" y="512"/>
                    <a:pt x="906" y="512"/>
                  </a:cubicBezTo>
                  <a:cubicBezTo>
                    <a:pt x="909" y="500"/>
                    <a:pt x="909" y="500"/>
                    <a:pt x="909" y="500"/>
                  </a:cubicBezTo>
                  <a:cubicBezTo>
                    <a:pt x="912" y="483"/>
                    <a:pt x="912" y="483"/>
                    <a:pt x="912" y="483"/>
                  </a:cubicBezTo>
                  <a:cubicBezTo>
                    <a:pt x="923" y="472"/>
                    <a:pt x="923" y="472"/>
                    <a:pt x="923" y="472"/>
                  </a:cubicBezTo>
                  <a:cubicBezTo>
                    <a:pt x="928" y="457"/>
                    <a:pt x="928" y="457"/>
                    <a:pt x="928" y="457"/>
                  </a:cubicBezTo>
                  <a:cubicBezTo>
                    <a:pt x="944" y="453"/>
                    <a:pt x="944" y="453"/>
                    <a:pt x="944" y="453"/>
                  </a:cubicBezTo>
                  <a:cubicBezTo>
                    <a:pt x="948" y="432"/>
                    <a:pt x="948" y="432"/>
                    <a:pt x="948" y="432"/>
                  </a:cubicBezTo>
                  <a:cubicBezTo>
                    <a:pt x="958" y="422"/>
                    <a:pt x="958" y="422"/>
                    <a:pt x="958" y="422"/>
                  </a:cubicBezTo>
                  <a:cubicBezTo>
                    <a:pt x="962" y="403"/>
                    <a:pt x="962" y="403"/>
                    <a:pt x="962" y="403"/>
                  </a:cubicBezTo>
                  <a:cubicBezTo>
                    <a:pt x="962" y="397"/>
                    <a:pt x="962" y="397"/>
                    <a:pt x="962" y="397"/>
                  </a:cubicBezTo>
                  <a:cubicBezTo>
                    <a:pt x="975" y="381"/>
                    <a:pt x="975" y="381"/>
                    <a:pt x="975" y="381"/>
                  </a:cubicBezTo>
                  <a:cubicBezTo>
                    <a:pt x="983" y="373"/>
                    <a:pt x="983" y="373"/>
                    <a:pt x="983" y="373"/>
                  </a:cubicBezTo>
                  <a:cubicBezTo>
                    <a:pt x="989" y="360"/>
                    <a:pt x="989" y="360"/>
                    <a:pt x="989" y="360"/>
                  </a:cubicBezTo>
                  <a:cubicBezTo>
                    <a:pt x="996" y="351"/>
                    <a:pt x="996" y="351"/>
                    <a:pt x="996" y="351"/>
                  </a:cubicBezTo>
                  <a:cubicBezTo>
                    <a:pt x="996" y="337"/>
                    <a:pt x="996" y="337"/>
                    <a:pt x="996" y="337"/>
                  </a:cubicBezTo>
                  <a:cubicBezTo>
                    <a:pt x="1004" y="330"/>
                    <a:pt x="1004" y="330"/>
                    <a:pt x="1004" y="330"/>
                  </a:cubicBezTo>
                  <a:cubicBezTo>
                    <a:pt x="995" y="315"/>
                    <a:pt x="995" y="315"/>
                    <a:pt x="995" y="315"/>
                  </a:cubicBezTo>
                  <a:cubicBezTo>
                    <a:pt x="982" y="308"/>
                    <a:pt x="982" y="308"/>
                    <a:pt x="982" y="308"/>
                  </a:cubicBezTo>
                  <a:cubicBezTo>
                    <a:pt x="977" y="303"/>
                    <a:pt x="977" y="303"/>
                    <a:pt x="977" y="303"/>
                  </a:cubicBezTo>
                  <a:cubicBezTo>
                    <a:pt x="990" y="305"/>
                    <a:pt x="990" y="305"/>
                    <a:pt x="990" y="305"/>
                  </a:cubicBezTo>
                  <a:cubicBezTo>
                    <a:pt x="991" y="291"/>
                    <a:pt x="991" y="291"/>
                    <a:pt x="991" y="291"/>
                  </a:cubicBezTo>
                  <a:cubicBezTo>
                    <a:pt x="982" y="282"/>
                    <a:pt x="982" y="282"/>
                    <a:pt x="982" y="282"/>
                  </a:cubicBezTo>
                  <a:cubicBezTo>
                    <a:pt x="975" y="275"/>
                    <a:pt x="975" y="275"/>
                    <a:pt x="975" y="275"/>
                  </a:cubicBezTo>
                  <a:cubicBezTo>
                    <a:pt x="971" y="281"/>
                    <a:pt x="971" y="281"/>
                    <a:pt x="971" y="281"/>
                  </a:cubicBezTo>
                  <a:cubicBezTo>
                    <a:pt x="963" y="274"/>
                    <a:pt x="963" y="274"/>
                    <a:pt x="963" y="274"/>
                  </a:cubicBezTo>
                  <a:cubicBezTo>
                    <a:pt x="956" y="261"/>
                    <a:pt x="956" y="261"/>
                    <a:pt x="956" y="261"/>
                  </a:cubicBezTo>
                  <a:cubicBezTo>
                    <a:pt x="948" y="253"/>
                    <a:pt x="948" y="253"/>
                    <a:pt x="948" y="253"/>
                  </a:cubicBezTo>
                  <a:cubicBezTo>
                    <a:pt x="938" y="258"/>
                    <a:pt x="938" y="258"/>
                    <a:pt x="938" y="258"/>
                  </a:cubicBezTo>
                  <a:cubicBezTo>
                    <a:pt x="930" y="250"/>
                    <a:pt x="930" y="250"/>
                    <a:pt x="930" y="250"/>
                  </a:cubicBezTo>
                  <a:cubicBezTo>
                    <a:pt x="917" y="260"/>
                    <a:pt x="917" y="260"/>
                    <a:pt x="917" y="260"/>
                  </a:cubicBezTo>
                  <a:cubicBezTo>
                    <a:pt x="903" y="260"/>
                    <a:pt x="903" y="260"/>
                    <a:pt x="903" y="260"/>
                  </a:cubicBezTo>
                  <a:cubicBezTo>
                    <a:pt x="889" y="268"/>
                    <a:pt x="889" y="268"/>
                    <a:pt x="889" y="268"/>
                  </a:cubicBezTo>
                  <a:cubicBezTo>
                    <a:pt x="895" y="274"/>
                    <a:pt x="895" y="274"/>
                    <a:pt x="895" y="274"/>
                  </a:cubicBezTo>
                  <a:cubicBezTo>
                    <a:pt x="891" y="285"/>
                    <a:pt x="891" y="285"/>
                    <a:pt x="891" y="285"/>
                  </a:cubicBezTo>
                  <a:cubicBezTo>
                    <a:pt x="891" y="285"/>
                    <a:pt x="881" y="281"/>
                    <a:pt x="877" y="281"/>
                  </a:cubicBezTo>
                  <a:cubicBezTo>
                    <a:pt x="873" y="281"/>
                    <a:pt x="873" y="272"/>
                    <a:pt x="873" y="272"/>
                  </a:cubicBezTo>
                  <a:cubicBezTo>
                    <a:pt x="882" y="263"/>
                    <a:pt x="882" y="263"/>
                    <a:pt x="882" y="263"/>
                  </a:cubicBezTo>
                  <a:cubicBezTo>
                    <a:pt x="872" y="254"/>
                    <a:pt x="872" y="254"/>
                    <a:pt x="872" y="254"/>
                  </a:cubicBezTo>
                  <a:cubicBezTo>
                    <a:pt x="859" y="254"/>
                    <a:pt x="859" y="254"/>
                    <a:pt x="859" y="254"/>
                  </a:cubicBezTo>
                  <a:cubicBezTo>
                    <a:pt x="855" y="258"/>
                    <a:pt x="855" y="258"/>
                    <a:pt x="855" y="258"/>
                  </a:cubicBezTo>
                  <a:cubicBezTo>
                    <a:pt x="834" y="257"/>
                    <a:pt x="834" y="257"/>
                    <a:pt x="834" y="257"/>
                  </a:cubicBezTo>
                  <a:cubicBezTo>
                    <a:pt x="843" y="245"/>
                    <a:pt x="843" y="245"/>
                    <a:pt x="843" y="245"/>
                  </a:cubicBezTo>
                  <a:cubicBezTo>
                    <a:pt x="853" y="235"/>
                    <a:pt x="853" y="235"/>
                    <a:pt x="853" y="235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40" y="223"/>
                    <a:pt x="840" y="223"/>
                    <a:pt x="840" y="223"/>
                  </a:cubicBezTo>
                  <a:cubicBezTo>
                    <a:pt x="827" y="215"/>
                    <a:pt x="827" y="215"/>
                    <a:pt x="827" y="215"/>
                  </a:cubicBezTo>
                  <a:cubicBezTo>
                    <a:pt x="816" y="226"/>
                    <a:pt x="816" y="226"/>
                    <a:pt x="816" y="226"/>
                  </a:cubicBezTo>
                  <a:cubicBezTo>
                    <a:pt x="804" y="235"/>
                    <a:pt x="804" y="235"/>
                    <a:pt x="804" y="235"/>
                  </a:cubicBezTo>
                  <a:cubicBezTo>
                    <a:pt x="794" y="259"/>
                    <a:pt x="794" y="259"/>
                    <a:pt x="794" y="259"/>
                  </a:cubicBezTo>
                  <a:cubicBezTo>
                    <a:pt x="791" y="270"/>
                    <a:pt x="791" y="270"/>
                    <a:pt x="791" y="270"/>
                  </a:cubicBezTo>
                  <a:cubicBezTo>
                    <a:pt x="791" y="286"/>
                    <a:pt x="791" y="286"/>
                    <a:pt x="791" y="286"/>
                  </a:cubicBezTo>
                  <a:cubicBezTo>
                    <a:pt x="796" y="290"/>
                    <a:pt x="796" y="290"/>
                    <a:pt x="796" y="290"/>
                  </a:cubicBezTo>
                  <a:cubicBezTo>
                    <a:pt x="797" y="301"/>
                    <a:pt x="797" y="301"/>
                    <a:pt x="797" y="301"/>
                  </a:cubicBezTo>
                  <a:cubicBezTo>
                    <a:pt x="793" y="301"/>
                    <a:pt x="793" y="301"/>
                    <a:pt x="793" y="301"/>
                  </a:cubicBezTo>
                  <a:cubicBezTo>
                    <a:pt x="777" y="306"/>
                    <a:pt x="777" y="306"/>
                    <a:pt x="777" y="306"/>
                  </a:cubicBezTo>
                  <a:cubicBezTo>
                    <a:pt x="763" y="306"/>
                    <a:pt x="763" y="306"/>
                    <a:pt x="763" y="306"/>
                  </a:cubicBezTo>
                  <a:cubicBezTo>
                    <a:pt x="767" y="313"/>
                    <a:pt x="767" y="313"/>
                    <a:pt x="767" y="313"/>
                  </a:cubicBezTo>
                  <a:cubicBezTo>
                    <a:pt x="775" y="319"/>
                    <a:pt x="775" y="319"/>
                    <a:pt x="775" y="319"/>
                  </a:cubicBezTo>
                  <a:cubicBezTo>
                    <a:pt x="781" y="327"/>
                    <a:pt x="781" y="327"/>
                    <a:pt x="781" y="327"/>
                  </a:cubicBezTo>
                  <a:cubicBezTo>
                    <a:pt x="767" y="325"/>
                    <a:pt x="767" y="325"/>
                    <a:pt x="767" y="325"/>
                  </a:cubicBezTo>
                  <a:cubicBezTo>
                    <a:pt x="754" y="327"/>
                    <a:pt x="754" y="327"/>
                    <a:pt x="754" y="327"/>
                  </a:cubicBezTo>
                  <a:cubicBezTo>
                    <a:pt x="752" y="338"/>
                    <a:pt x="752" y="338"/>
                    <a:pt x="752" y="338"/>
                  </a:cubicBezTo>
                  <a:cubicBezTo>
                    <a:pt x="731" y="337"/>
                    <a:pt x="731" y="337"/>
                    <a:pt x="731" y="337"/>
                  </a:cubicBezTo>
                  <a:cubicBezTo>
                    <a:pt x="723" y="346"/>
                    <a:pt x="723" y="346"/>
                    <a:pt x="723" y="346"/>
                  </a:cubicBezTo>
                  <a:cubicBezTo>
                    <a:pt x="723" y="336"/>
                    <a:pt x="723" y="336"/>
                    <a:pt x="723" y="336"/>
                  </a:cubicBezTo>
                  <a:cubicBezTo>
                    <a:pt x="729" y="324"/>
                    <a:pt x="729" y="324"/>
                    <a:pt x="729" y="324"/>
                  </a:cubicBezTo>
                  <a:cubicBezTo>
                    <a:pt x="717" y="326"/>
                    <a:pt x="717" y="326"/>
                    <a:pt x="717" y="326"/>
                  </a:cubicBezTo>
                  <a:cubicBezTo>
                    <a:pt x="714" y="333"/>
                    <a:pt x="714" y="333"/>
                    <a:pt x="714" y="333"/>
                  </a:cubicBezTo>
                  <a:cubicBezTo>
                    <a:pt x="699" y="335"/>
                    <a:pt x="699" y="335"/>
                    <a:pt x="699" y="335"/>
                  </a:cubicBezTo>
                  <a:cubicBezTo>
                    <a:pt x="682" y="339"/>
                    <a:pt x="682" y="339"/>
                    <a:pt x="682" y="339"/>
                  </a:cubicBezTo>
                  <a:cubicBezTo>
                    <a:pt x="675" y="346"/>
                    <a:pt x="675" y="346"/>
                    <a:pt x="675" y="346"/>
                  </a:cubicBezTo>
                  <a:cubicBezTo>
                    <a:pt x="687" y="350"/>
                    <a:pt x="687" y="350"/>
                    <a:pt x="687" y="350"/>
                  </a:cubicBezTo>
                  <a:cubicBezTo>
                    <a:pt x="683" y="355"/>
                    <a:pt x="683" y="355"/>
                    <a:pt x="683" y="355"/>
                  </a:cubicBezTo>
                  <a:cubicBezTo>
                    <a:pt x="665" y="360"/>
                    <a:pt x="665" y="360"/>
                    <a:pt x="665" y="360"/>
                  </a:cubicBezTo>
                  <a:cubicBezTo>
                    <a:pt x="659" y="366"/>
                    <a:pt x="659" y="366"/>
                    <a:pt x="659" y="366"/>
                  </a:cubicBezTo>
                  <a:cubicBezTo>
                    <a:pt x="634" y="370"/>
                    <a:pt x="634" y="370"/>
                    <a:pt x="634" y="370"/>
                  </a:cubicBezTo>
                  <a:cubicBezTo>
                    <a:pt x="627" y="377"/>
                    <a:pt x="627" y="377"/>
                    <a:pt x="627" y="377"/>
                  </a:cubicBezTo>
                  <a:cubicBezTo>
                    <a:pt x="609" y="384"/>
                    <a:pt x="609" y="384"/>
                    <a:pt x="609" y="384"/>
                  </a:cubicBezTo>
                  <a:cubicBezTo>
                    <a:pt x="601" y="399"/>
                    <a:pt x="601" y="399"/>
                    <a:pt x="601" y="399"/>
                  </a:cubicBezTo>
                  <a:cubicBezTo>
                    <a:pt x="583" y="399"/>
                    <a:pt x="583" y="399"/>
                    <a:pt x="583" y="399"/>
                  </a:cubicBezTo>
                  <a:cubicBezTo>
                    <a:pt x="583" y="409"/>
                    <a:pt x="583" y="409"/>
                    <a:pt x="583" y="409"/>
                  </a:cubicBezTo>
                  <a:cubicBezTo>
                    <a:pt x="593" y="409"/>
                    <a:pt x="593" y="409"/>
                    <a:pt x="593" y="409"/>
                  </a:cubicBezTo>
                  <a:cubicBezTo>
                    <a:pt x="583" y="417"/>
                    <a:pt x="583" y="417"/>
                    <a:pt x="583" y="417"/>
                  </a:cubicBezTo>
                  <a:cubicBezTo>
                    <a:pt x="577" y="426"/>
                    <a:pt x="577" y="426"/>
                    <a:pt x="577" y="426"/>
                  </a:cubicBezTo>
                  <a:cubicBezTo>
                    <a:pt x="582" y="432"/>
                    <a:pt x="582" y="432"/>
                    <a:pt x="582" y="432"/>
                  </a:cubicBezTo>
                  <a:cubicBezTo>
                    <a:pt x="579" y="440"/>
                    <a:pt x="579" y="440"/>
                    <a:pt x="579" y="440"/>
                  </a:cubicBezTo>
                  <a:cubicBezTo>
                    <a:pt x="584" y="446"/>
                    <a:pt x="584" y="446"/>
                    <a:pt x="584" y="446"/>
                  </a:cubicBezTo>
                  <a:cubicBezTo>
                    <a:pt x="576" y="448"/>
                    <a:pt x="576" y="448"/>
                    <a:pt x="576" y="448"/>
                  </a:cubicBezTo>
                  <a:cubicBezTo>
                    <a:pt x="576" y="448"/>
                    <a:pt x="576" y="438"/>
                    <a:pt x="571" y="443"/>
                  </a:cubicBezTo>
                  <a:cubicBezTo>
                    <a:pt x="566" y="448"/>
                    <a:pt x="563" y="451"/>
                    <a:pt x="563" y="451"/>
                  </a:cubicBezTo>
                  <a:cubicBezTo>
                    <a:pt x="570" y="457"/>
                    <a:pt x="570" y="457"/>
                    <a:pt x="570" y="457"/>
                  </a:cubicBezTo>
                  <a:cubicBezTo>
                    <a:pt x="578" y="460"/>
                    <a:pt x="578" y="460"/>
                    <a:pt x="578" y="460"/>
                  </a:cubicBezTo>
                  <a:cubicBezTo>
                    <a:pt x="585" y="470"/>
                    <a:pt x="585" y="470"/>
                    <a:pt x="585" y="470"/>
                  </a:cubicBezTo>
                  <a:cubicBezTo>
                    <a:pt x="578" y="477"/>
                    <a:pt x="578" y="477"/>
                    <a:pt x="578" y="477"/>
                  </a:cubicBezTo>
                  <a:cubicBezTo>
                    <a:pt x="565" y="477"/>
                    <a:pt x="565" y="477"/>
                    <a:pt x="565" y="477"/>
                  </a:cubicBezTo>
                  <a:cubicBezTo>
                    <a:pt x="548" y="484"/>
                    <a:pt x="548" y="484"/>
                    <a:pt x="548" y="484"/>
                  </a:cubicBezTo>
                  <a:cubicBezTo>
                    <a:pt x="522" y="484"/>
                    <a:pt x="522" y="484"/>
                    <a:pt x="522" y="484"/>
                  </a:cubicBezTo>
                  <a:cubicBezTo>
                    <a:pt x="522" y="488"/>
                    <a:pt x="522" y="488"/>
                    <a:pt x="522" y="488"/>
                  </a:cubicBezTo>
                  <a:cubicBezTo>
                    <a:pt x="506" y="482"/>
                    <a:pt x="506" y="482"/>
                    <a:pt x="506" y="482"/>
                  </a:cubicBezTo>
                  <a:cubicBezTo>
                    <a:pt x="475" y="482"/>
                    <a:pt x="475" y="482"/>
                    <a:pt x="475" y="482"/>
                  </a:cubicBezTo>
                  <a:cubicBezTo>
                    <a:pt x="461" y="494"/>
                    <a:pt x="461" y="494"/>
                    <a:pt x="461" y="494"/>
                  </a:cubicBezTo>
                  <a:cubicBezTo>
                    <a:pt x="465" y="511"/>
                    <a:pt x="465" y="511"/>
                    <a:pt x="465" y="511"/>
                  </a:cubicBezTo>
                  <a:cubicBezTo>
                    <a:pt x="470" y="516"/>
                    <a:pt x="470" y="516"/>
                    <a:pt x="470" y="516"/>
                  </a:cubicBezTo>
                  <a:cubicBezTo>
                    <a:pt x="464" y="529"/>
                    <a:pt x="464" y="529"/>
                    <a:pt x="464" y="529"/>
                  </a:cubicBezTo>
                  <a:cubicBezTo>
                    <a:pt x="460" y="545"/>
                    <a:pt x="460" y="545"/>
                    <a:pt x="460" y="545"/>
                  </a:cubicBezTo>
                  <a:cubicBezTo>
                    <a:pt x="465" y="551"/>
                    <a:pt x="465" y="551"/>
                    <a:pt x="465" y="551"/>
                  </a:cubicBezTo>
                  <a:cubicBezTo>
                    <a:pt x="475" y="566"/>
                    <a:pt x="475" y="566"/>
                    <a:pt x="475" y="566"/>
                  </a:cubicBezTo>
                  <a:cubicBezTo>
                    <a:pt x="487" y="571"/>
                    <a:pt x="487" y="571"/>
                    <a:pt x="487" y="571"/>
                  </a:cubicBezTo>
                  <a:cubicBezTo>
                    <a:pt x="487" y="580"/>
                    <a:pt x="487" y="580"/>
                    <a:pt x="487" y="580"/>
                  </a:cubicBezTo>
                  <a:cubicBezTo>
                    <a:pt x="494" y="590"/>
                    <a:pt x="494" y="590"/>
                    <a:pt x="494" y="590"/>
                  </a:cubicBezTo>
                  <a:cubicBezTo>
                    <a:pt x="491" y="601"/>
                    <a:pt x="491" y="601"/>
                    <a:pt x="491" y="601"/>
                  </a:cubicBezTo>
                  <a:cubicBezTo>
                    <a:pt x="473" y="601"/>
                    <a:pt x="473" y="601"/>
                    <a:pt x="473" y="601"/>
                  </a:cubicBezTo>
                  <a:cubicBezTo>
                    <a:pt x="462" y="589"/>
                    <a:pt x="462" y="589"/>
                    <a:pt x="462" y="589"/>
                  </a:cubicBezTo>
                  <a:cubicBezTo>
                    <a:pt x="457" y="585"/>
                    <a:pt x="457" y="585"/>
                    <a:pt x="457" y="585"/>
                  </a:cubicBezTo>
                  <a:cubicBezTo>
                    <a:pt x="462" y="571"/>
                    <a:pt x="462" y="571"/>
                    <a:pt x="462" y="571"/>
                  </a:cubicBezTo>
                  <a:cubicBezTo>
                    <a:pt x="445" y="562"/>
                    <a:pt x="445" y="562"/>
                    <a:pt x="445" y="562"/>
                  </a:cubicBezTo>
                  <a:cubicBezTo>
                    <a:pt x="436" y="553"/>
                    <a:pt x="436" y="553"/>
                    <a:pt x="436" y="553"/>
                  </a:cubicBezTo>
                  <a:cubicBezTo>
                    <a:pt x="425" y="555"/>
                    <a:pt x="425" y="555"/>
                    <a:pt x="425" y="555"/>
                  </a:cubicBezTo>
                  <a:cubicBezTo>
                    <a:pt x="411" y="552"/>
                    <a:pt x="411" y="552"/>
                    <a:pt x="411" y="552"/>
                  </a:cubicBezTo>
                  <a:cubicBezTo>
                    <a:pt x="412" y="560"/>
                    <a:pt x="412" y="560"/>
                    <a:pt x="412" y="560"/>
                  </a:cubicBezTo>
                  <a:cubicBezTo>
                    <a:pt x="418" y="560"/>
                    <a:pt x="418" y="560"/>
                    <a:pt x="418" y="560"/>
                  </a:cubicBezTo>
                  <a:cubicBezTo>
                    <a:pt x="421" y="567"/>
                    <a:pt x="421" y="567"/>
                    <a:pt x="421" y="567"/>
                  </a:cubicBezTo>
                  <a:cubicBezTo>
                    <a:pt x="427" y="573"/>
                    <a:pt x="427" y="573"/>
                    <a:pt x="427" y="573"/>
                  </a:cubicBezTo>
                  <a:cubicBezTo>
                    <a:pt x="435" y="575"/>
                    <a:pt x="435" y="575"/>
                    <a:pt x="435" y="575"/>
                  </a:cubicBezTo>
                  <a:cubicBezTo>
                    <a:pt x="444" y="580"/>
                    <a:pt x="444" y="580"/>
                    <a:pt x="444" y="580"/>
                  </a:cubicBezTo>
                  <a:cubicBezTo>
                    <a:pt x="447" y="588"/>
                    <a:pt x="447" y="588"/>
                    <a:pt x="447" y="588"/>
                  </a:cubicBezTo>
                  <a:cubicBezTo>
                    <a:pt x="440" y="595"/>
                    <a:pt x="440" y="595"/>
                    <a:pt x="440" y="595"/>
                  </a:cubicBezTo>
                  <a:cubicBezTo>
                    <a:pt x="442" y="602"/>
                    <a:pt x="442" y="602"/>
                    <a:pt x="442" y="602"/>
                  </a:cubicBezTo>
                  <a:cubicBezTo>
                    <a:pt x="429" y="604"/>
                    <a:pt x="429" y="604"/>
                    <a:pt x="429" y="604"/>
                  </a:cubicBezTo>
                  <a:cubicBezTo>
                    <a:pt x="420" y="613"/>
                    <a:pt x="420" y="613"/>
                    <a:pt x="420" y="613"/>
                  </a:cubicBezTo>
                  <a:cubicBezTo>
                    <a:pt x="424" y="622"/>
                    <a:pt x="424" y="622"/>
                    <a:pt x="424" y="622"/>
                  </a:cubicBezTo>
                  <a:cubicBezTo>
                    <a:pt x="427" y="618"/>
                    <a:pt x="427" y="618"/>
                    <a:pt x="427" y="618"/>
                  </a:cubicBezTo>
                  <a:cubicBezTo>
                    <a:pt x="431" y="626"/>
                    <a:pt x="431" y="626"/>
                    <a:pt x="431" y="626"/>
                  </a:cubicBezTo>
                  <a:cubicBezTo>
                    <a:pt x="445" y="634"/>
                    <a:pt x="445" y="634"/>
                    <a:pt x="445" y="634"/>
                  </a:cubicBezTo>
                  <a:cubicBezTo>
                    <a:pt x="444" y="650"/>
                    <a:pt x="444" y="650"/>
                    <a:pt x="444" y="650"/>
                  </a:cubicBezTo>
                  <a:cubicBezTo>
                    <a:pt x="444" y="673"/>
                    <a:pt x="444" y="673"/>
                    <a:pt x="444" y="673"/>
                  </a:cubicBezTo>
                  <a:cubicBezTo>
                    <a:pt x="431" y="673"/>
                    <a:pt x="431" y="673"/>
                    <a:pt x="431" y="673"/>
                  </a:cubicBezTo>
                  <a:cubicBezTo>
                    <a:pt x="426" y="681"/>
                    <a:pt x="426" y="681"/>
                    <a:pt x="426" y="681"/>
                  </a:cubicBezTo>
                  <a:cubicBezTo>
                    <a:pt x="416" y="691"/>
                    <a:pt x="416" y="691"/>
                    <a:pt x="416" y="691"/>
                  </a:cubicBezTo>
                  <a:cubicBezTo>
                    <a:pt x="404" y="700"/>
                    <a:pt x="404" y="700"/>
                    <a:pt x="404" y="700"/>
                  </a:cubicBezTo>
                  <a:cubicBezTo>
                    <a:pt x="404" y="713"/>
                    <a:pt x="404" y="713"/>
                    <a:pt x="404" y="713"/>
                  </a:cubicBezTo>
                  <a:cubicBezTo>
                    <a:pt x="410" y="719"/>
                    <a:pt x="410" y="719"/>
                    <a:pt x="410" y="719"/>
                  </a:cubicBezTo>
                  <a:cubicBezTo>
                    <a:pt x="412" y="726"/>
                    <a:pt x="412" y="726"/>
                    <a:pt x="412" y="726"/>
                  </a:cubicBezTo>
                  <a:cubicBezTo>
                    <a:pt x="420" y="734"/>
                    <a:pt x="420" y="734"/>
                    <a:pt x="420" y="734"/>
                  </a:cubicBezTo>
                  <a:cubicBezTo>
                    <a:pt x="433" y="736"/>
                    <a:pt x="433" y="736"/>
                    <a:pt x="433" y="736"/>
                  </a:cubicBezTo>
                  <a:cubicBezTo>
                    <a:pt x="435" y="745"/>
                    <a:pt x="435" y="745"/>
                    <a:pt x="435" y="745"/>
                  </a:cubicBezTo>
                  <a:cubicBezTo>
                    <a:pt x="439" y="749"/>
                    <a:pt x="439" y="749"/>
                    <a:pt x="439" y="749"/>
                  </a:cubicBezTo>
                  <a:cubicBezTo>
                    <a:pt x="447" y="742"/>
                    <a:pt x="447" y="742"/>
                    <a:pt x="447" y="742"/>
                  </a:cubicBezTo>
                  <a:cubicBezTo>
                    <a:pt x="447" y="742"/>
                    <a:pt x="450" y="747"/>
                    <a:pt x="451" y="746"/>
                  </a:cubicBezTo>
                  <a:cubicBezTo>
                    <a:pt x="452" y="745"/>
                    <a:pt x="459" y="738"/>
                    <a:pt x="459" y="738"/>
                  </a:cubicBezTo>
                  <a:cubicBezTo>
                    <a:pt x="459" y="751"/>
                    <a:pt x="459" y="751"/>
                    <a:pt x="459" y="751"/>
                  </a:cubicBezTo>
                  <a:cubicBezTo>
                    <a:pt x="469" y="753"/>
                    <a:pt x="469" y="753"/>
                    <a:pt x="469" y="753"/>
                  </a:cubicBezTo>
                  <a:cubicBezTo>
                    <a:pt x="469" y="764"/>
                    <a:pt x="469" y="764"/>
                    <a:pt x="469" y="764"/>
                  </a:cubicBezTo>
                  <a:cubicBezTo>
                    <a:pt x="475" y="779"/>
                    <a:pt x="475" y="779"/>
                    <a:pt x="475" y="779"/>
                  </a:cubicBezTo>
                  <a:cubicBezTo>
                    <a:pt x="472" y="789"/>
                    <a:pt x="472" y="789"/>
                    <a:pt x="472" y="789"/>
                  </a:cubicBezTo>
                  <a:cubicBezTo>
                    <a:pt x="467" y="789"/>
                    <a:pt x="467" y="789"/>
                    <a:pt x="467" y="789"/>
                  </a:cubicBezTo>
                  <a:cubicBezTo>
                    <a:pt x="472" y="799"/>
                    <a:pt x="472" y="799"/>
                    <a:pt x="472" y="799"/>
                  </a:cubicBezTo>
                  <a:cubicBezTo>
                    <a:pt x="468" y="811"/>
                    <a:pt x="468" y="811"/>
                    <a:pt x="468" y="811"/>
                  </a:cubicBezTo>
                  <a:cubicBezTo>
                    <a:pt x="461" y="819"/>
                    <a:pt x="461" y="819"/>
                    <a:pt x="461" y="819"/>
                  </a:cubicBezTo>
                  <a:cubicBezTo>
                    <a:pt x="458" y="827"/>
                    <a:pt x="458" y="827"/>
                    <a:pt x="458" y="827"/>
                  </a:cubicBezTo>
                  <a:cubicBezTo>
                    <a:pt x="449" y="825"/>
                    <a:pt x="449" y="825"/>
                    <a:pt x="449" y="825"/>
                  </a:cubicBezTo>
                  <a:cubicBezTo>
                    <a:pt x="448" y="835"/>
                    <a:pt x="448" y="835"/>
                    <a:pt x="448" y="835"/>
                  </a:cubicBezTo>
                  <a:cubicBezTo>
                    <a:pt x="455" y="842"/>
                    <a:pt x="455" y="842"/>
                    <a:pt x="455" y="842"/>
                  </a:cubicBezTo>
                  <a:cubicBezTo>
                    <a:pt x="457" y="854"/>
                    <a:pt x="457" y="854"/>
                    <a:pt x="457" y="854"/>
                  </a:cubicBezTo>
                  <a:cubicBezTo>
                    <a:pt x="451" y="864"/>
                    <a:pt x="451" y="864"/>
                    <a:pt x="451" y="864"/>
                  </a:cubicBezTo>
                  <a:cubicBezTo>
                    <a:pt x="457" y="870"/>
                    <a:pt x="457" y="870"/>
                    <a:pt x="457" y="870"/>
                  </a:cubicBezTo>
                  <a:cubicBezTo>
                    <a:pt x="457" y="879"/>
                    <a:pt x="457" y="879"/>
                    <a:pt x="457" y="879"/>
                  </a:cubicBezTo>
                  <a:cubicBezTo>
                    <a:pt x="472" y="888"/>
                    <a:pt x="472" y="888"/>
                    <a:pt x="472" y="888"/>
                  </a:cubicBezTo>
                  <a:cubicBezTo>
                    <a:pt x="478" y="900"/>
                    <a:pt x="478" y="900"/>
                    <a:pt x="478" y="900"/>
                  </a:cubicBezTo>
                  <a:cubicBezTo>
                    <a:pt x="469" y="908"/>
                    <a:pt x="469" y="908"/>
                    <a:pt x="469" y="908"/>
                  </a:cubicBezTo>
                  <a:cubicBezTo>
                    <a:pt x="469" y="915"/>
                    <a:pt x="469" y="915"/>
                    <a:pt x="469" y="915"/>
                  </a:cubicBezTo>
                  <a:cubicBezTo>
                    <a:pt x="473" y="923"/>
                    <a:pt x="473" y="923"/>
                    <a:pt x="473" y="923"/>
                  </a:cubicBezTo>
                  <a:cubicBezTo>
                    <a:pt x="473" y="935"/>
                    <a:pt x="473" y="935"/>
                    <a:pt x="473" y="935"/>
                  </a:cubicBezTo>
                  <a:cubicBezTo>
                    <a:pt x="467" y="939"/>
                    <a:pt x="467" y="939"/>
                    <a:pt x="467" y="939"/>
                  </a:cubicBezTo>
                  <a:cubicBezTo>
                    <a:pt x="475" y="953"/>
                    <a:pt x="475" y="953"/>
                    <a:pt x="475" y="953"/>
                  </a:cubicBezTo>
                  <a:cubicBezTo>
                    <a:pt x="483" y="953"/>
                    <a:pt x="483" y="953"/>
                    <a:pt x="483" y="953"/>
                  </a:cubicBezTo>
                  <a:cubicBezTo>
                    <a:pt x="491" y="961"/>
                    <a:pt x="491" y="961"/>
                    <a:pt x="491" y="961"/>
                  </a:cubicBezTo>
                  <a:cubicBezTo>
                    <a:pt x="497" y="973"/>
                    <a:pt x="497" y="973"/>
                    <a:pt x="497" y="973"/>
                  </a:cubicBezTo>
                  <a:cubicBezTo>
                    <a:pt x="498" y="988"/>
                    <a:pt x="498" y="988"/>
                    <a:pt x="498" y="988"/>
                  </a:cubicBezTo>
                  <a:cubicBezTo>
                    <a:pt x="491" y="995"/>
                    <a:pt x="491" y="995"/>
                    <a:pt x="491" y="995"/>
                  </a:cubicBezTo>
                  <a:cubicBezTo>
                    <a:pt x="495" y="1009"/>
                    <a:pt x="495" y="1009"/>
                    <a:pt x="495" y="1009"/>
                  </a:cubicBezTo>
                  <a:cubicBezTo>
                    <a:pt x="510" y="1012"/>
                    <a:pt x="510" y="1012"/>
                    <a:pt x="510" y="1012"/>
                  </a:cubicBezTo>
                  <a:cubicBezTo>
                    <a:pt x="518" y="1020"/>
                    <a:pt x="518" y="1020"/>
                    <a:pt x="518" y="1020"/>
                  </a:cubicBezTo>
                  <a:cubicBezTo>
                    <a:pt x="525" y="1012"/>
                    <a:pt x="525" y="1012"/>
                    <a:pt x="525" y="1012"/>
                  </a:cubicBezTo>
                  <a:cubicBezTo>
                    <a:pt x="528" y="1028"/>
                    <a:pt x="528" y="1028"/>
                    <a:pt x="528" y="1028"/>
                  </a:cubicBezTo>
                  <a:cubicBezTo>
                    <a:pt x="525" y="1042"/>
                    <a:pt x="525" y="1042"/>
                    <a:pt x="525" y="1042"/>
                  </a:cubicBezTo>
                  <a:cubicBezTo>
                    <a:pt x="530" y="1053"/>
                    <a:pt x="530" y="1053"/>
                    <a:pt x="530" y="1053"/>
                  </a:cubicBezTo>
                  <a:cubicBezTo>
                    <a:pt x="521" y="1062"/>
                    <a:pt x="521" y="1062"/>
                    <a:pt x="521" y="1062"/>
                  </a:cubicBezTo>
                  <a:cubicBezTo>
                    <a:pt x="511" y="1074"/>
                    <a:pt x="511" y="1074"/>
                    <a:pt x="511" y="1074"/>
                  </a:cubicBezTo>
                  <a:cubicBezTo>
                    <a:pt x="505" y="1087"/>
                    <a:pt x="505" y="1087"/>
                    <a:pt x="505" y="1087"/>
                  </a:cubicBezTo>
                  <a:cubicBezTo>
                    <a:pt x="515" y="1101"/>
                    <a:pt x="515" y="1101"/>
                    <a:pt x="515" y="1101"/>
                  </a:cubicBezTo>
                  <a:cubicBezTo>
                    <a:pt x="515" y="1117"/>
                    <a:pt x="515" y="1117"/>
                    <a:pt x="515" y="1117"/>
                  </a:cubicBezTo>
                  <a:cubicBezTo>
                    <a:pt x="505" y="1127"/>
                    <a:pt x="505" y="1127"/>
                    <a:pt x="505" y="1127"/>
                  </a:cubicBezTo>
                  <a:cubicBezTo>
                    <a:pt x="504" y="1142"/>
                    <a:pt x="504" y="1142"/>
                    <a:pt x="504" y="1142"/>
                  </a:cubicBezTo>
                  <a:cubicBezTo>
                    <a:pt x="498" y="1148"/>
                    <a:pt x="498" y="1148"/>
                    <a:pt x="498" y="1148"/>
                  </a:cubicBezTo>
                  <a:cubicBezTo>
                    <a:pt x="483" y="1163"/>
                    <a:pt x="483" y="1163"/>
                    <a:pt x="483" y="1163"/>
                  </a:cubicBezTo>
                  <a:cubicBezTo>
                    <a:pt x="483" y="1184"/>
                    <a:pt x="483" y="1184"/>
                    <a:pt x="483" y="1184"/>
                  </a:cubicBezTo>
                  <a:cubicBezTo>
                    <a:pt x="500" y="1195"/>
                    <a:pt x="500" y="1195"/>
                    <a:pt x="500" y="1195"/>
                  </a:cubicBezTo>
                  <a:cubicBezTo>
                    <a:pt x="519" y="1203"/>
                    <a:pt x="519" y="1203"/>
                    <a:pt x="519" y="1203"/>
                  </a:cubicBezTo>
                  <a:cubicBezTo>
                    <a:pt x="509" y="1220"/>
                    <a:pt x="509" y="1220"/>
                    <a:pt x="509" y="1220"/>
                  </a:cubicBezTo>
                  <a:cubicBezTo>
                    <a:pt x="485" y="1230"/>
                    <a:pt x="485" y="1230"/>
                    <a:pt x="485" y="1230"/>
                  </a:cubicBezTo>
                  <a:cubicBezTo>
                    <a:pt x="470" y="1245"/>
                    <a:pt x="470" y="1245"/>
                    <a:pt x="470" y="1245"/>
                  </a:cubicBezTo>
                  <a:cubicBezTo>
                    <a:pt x="445" y="1227"/>
                    <a:pt x="445" y="1227"/>
                    <a:pt x="445" y="1227"/>
                  </a:cubicBezTo>
                  <a:cubicBezTo>
                    <a:pt x="419" y="1238"/>
                    <a:pt x="419" y="1238"/>
                    <a:pt x="419" y="1238"/>
                  </a:cubicBezTo>
                  <a:cubicBezTo>
                    <a:pt x="414" y="1254"/>
                    <a:pt x="414" y="1254"/>
                    <a:pt x="414" y="1254"/>
                  </a:cubicBezTo>
                  <a:cubicBezTo>
                    <a:pt x="396" y="1245"/>
                    <a:pt x="396" y="1245"/>
                    <a:pt x="396" y="1245"/>
                  </a:cubicBezTo>
                  <a:cubicBezTo>
                    <a:pt x="384" y="1249"/>
                    <a:pt x="384" y="1249"/>
                    <a:pt x="384" y="1249"/>
                  </a:cubicBezTo>
                  <a:cubicBezTo>
                    <a:pt x="368" y="1233"/>
                    <a:pt x="368" y="1233"/>
                    <a:pt x="368" y="1233"/>
                  </a:cubicBezTo>
                  <a:cubicBezTo>
                    <a:pt x="352" y="1240"/>
                    <a:pt x="352" y="1240"/>
                    <a:pt x="352" y="1240"/>
                  </a:cubicBezTo>
                  <a:cubicBezTo>
                    <a:pt x="330" y="1237"/>
                    <a:pt x="330" y="1237"/>
                    <a:pt x="330" y="1237"/>
                  </a:cubicBezTo>
                  <a:cubicBezTo>
                    <a:pt x="324" y="1229"/>
                    <a:pt x="324" y="1229"/>
                    <a:pt x="324" y="1229"/>
                  </a:cubicBezTo>
                  <a:cubicBezTo>
                    <a:pt x="301" y="1229"/>
                    <a:pt x="301" y="1229"/>
                    <a:pt x="301" y="1229"/>
                  </a:cubicBezTo>
                  <a:cubicBezTo>
                    <a:pt x="285" y="1222"/>
                    <a:pt x="285" y="1222"/>
                    <a:pt x="285" y="1222"/>
                  </a:cubicBezTo>
                  <a:cubicBezTo>
                    <a:pt x="264" y="1225"/>
                    <a:pt x="264" y="1225"/>
                    <a:pt x="264" y="1225"/>
                  </a:cubicBezTo>
                  <a:cubicBezTo>
                    <a:pt x="248" y="1260"/>
                    <a:pt x="248" y="1260"/>
                    <a:pt x="248" y="1260"/>
                  </a:cubicBezTo>
                  <a:cubicBezTo>
                    <a:pt x="250" y="1281"/>
                    <a:pt x="250" y="1281"/>
                    <a:pt x="250" y="1281"/>
                  </a:cubicBezTo>
                  <a:cubicBezTo>
                    <a:pt x="228" y="1287"/>
                    <a:pt x="228" y="1287"/>
                    <a:pt x="228" y="1287"/>
                  </a:cubicBezTo>
                  <a:cubicBezTo>
                    <a:pt x="209" y="1300"/>
                    <a:pt x="209" y="1300"/>
                    <a:pt x="209" y="1300"/>
                  </a:cubicBezTo>
                  <a:cubicBezTo>
                    <a:pt x="207" y="1314"/>
                    <a:pt x="207" y="1314"/>
                    <a:pt x="207" y="1314"/>
                  </a:cubicBezTo>
                  <a:cubicBezTo>
                    <a:pt x="189" y="1325"/>
                    <a:pt x="189" y="1325"/>
                    <a:pt x="189" y="1325"/>
                  </a:cubicBezTo>
                  <a:cubicBezTo>
                    <a:pt x="183" y="1333"/>
                    <a:pt x="183" y="1333"/>
                    <a:pt x="183" y="1333"/>
                  </a:cubicBezTo>
                  <a:cubicBezTo>
                    <a:pt x="172" y="1344"/>
                    <a:pt x="172" y="1344"/>
                    <a:pt x="172" y="1344"/>
                  </a:cubicBezTo>
                  <a:cubicBezTo>
                    <a:pt x="159" y="1350"/>
                    <a:pt x="159" y="1350"/>
                    <a:pt x="159" y="1350"/>
                  </a:cubicBezTo>
                  <a:cubicBezTo>
                    <a:pt x="143" y="1350"/>
                    <a:pt x="143" y="1350"/>
                    <a:pt x="143" y="1350"/>
                  </a:cubicBezTo>
                  <a:cubicBezTo>
                    <a:pt x="133" y="1347"/>
                    <a:pt x="133" y="1347"/>
                    <a:pt x="133" y="1347"/>
                  </a:cubicBezTo>
                  <a:cubicBezTo>
                    <a:pt x="121" y="1341"/>
                    <a:pt x="121" y="1341"/>
                    <a:pt x="121" y="1341"/>
                  </a:cubicBezTo>
                  <a:cubicBezTo>
                    <a:pt x="117" y="1348"/>
                    <a:pt x="117" y="1348"/>
                    <a:pt x="117" y="1348"/>
                  </a:cubicBezTo>
                  <a:cubicBezTo>
                    <a:pt x="103" y="1348"/>
                    <a:pt x="103" y="1348"/>
                    <a:pt x="103" y="1348"/>
                  </a:cubicBezTo>
                  <a:cubicBezTo>
                    <a:pt x="95" y="1342"/>
                    <a:pt x="95" y="1342"/>
                    <a:pt x="95" y="1342"/>
                  </a:cubicBezTo>
                  <a:cubicBezTo>
                    <a:pt x="87" y="1339"/>
                    <a:pt x="87" y="1339"/>
                    <a:pt x="87" y="1339"/>
                  </a:cubicBezTo>
                  <a:cubicBezTo>
                    <a:pt x="76" y="1335"/>
                    <a:pt x="76" y="1335"/>
                    <a:pt x="76" y="1335"/>
                  </a:cubicBezTo>
                  <a:cubicBezTo>
                    <a:pt x="67" y="1332"/>
                    <a:pt x="67" y="1332"/>
                    <a:pt x="67" y="1332"/>
                  </a:cubicBezTo>
                  <a:cubicBezTo>
                    <a:pt x="67" y="1324"/>
                    <a:pt x="67" y="1324"/>
                    <a:pt x="67" y="1324"/>
                  </a:cubicBezTo>
                  <a:cubicBezTo>
                    <a:pt x="73" y="1318"/>
                    <a:pt x="73" y="1318"/>
                    <a:pt x="73" y="1318"/>
                  </a:cubicBezTo>
                  <a:cubicBezTo>
                    <a:pt x="63" y="1307"/>
                    <a:pt x="63" y="1307"/>
                    <a:pt x="63" y="1307"/>
                  </a:cubicBezTo>
                  <a:cubicBezTo>
                    <a:pt x="53" y="1314"/>
                    <a:pt x="53" y="1314"/>
                    <a:pt x="53" y="1314"/>
                  </a:cubicBezTo>
                  <a:cubicBezTo>
                    <a:pt x="48" y="1322"/>
                    <a:pt x="48" y="1322"/>
                    <a:pt x="48" y="1322"/>
                  </a:cubicBezTo>
                  <a:cubicBezTo>
                    <a:pt x="39" y="1332"/>
                    <a:pt x="39" y="1332"/>
                    <a:pt x="39" y="1332"/>
                  </a:cubicBezTo>
                  <a:cubicBezTo>
                    <a:pt x="38" y="1343"/>
                    <a:pt x="38" y="1343"/>
                    <a:pt x="38" y="1343"/>
                  </a:cubicBezTo>
                  <a:cubicBezTo>
                    <a:pt x="42" y="1356"/>
                    <a:pt x="42" y="1356"/>
                    <a:pt x="42" y="1356"/>
                  </a:cubicBezTo>
                  <a:cubicBezTo>
                    <a:pt x="32" y="1361"/>
                    <a:pt x="32" y="1361"/>
                    <a:pt x="32" y="1361"/>
                  </a:cubicBezTo>
                  <a:cubicBezTo>
                    <a:pt x="32" y="1369"/>
                    <a:pt x="32" y="1369"/>
                    <a:pt x="32" y="1369"/>
                  </a:cubicBezTo>
                  <a:cubicBezTo>
                    <a:pt x="41" y="1373"/>
                    <a:pt x="41" y="1373"/>
                    <a:pt x="41" y="1373"/>
                  </a:cubicBezTo>
                  <a:cubicBezTo>
                    <a:pt x="47" y="1380"/>
                    <a:pt x="47" y="1380"/>
                    <a:pt x="47" y="1380"/>
                  </a:cubicBezTo>
                  <a:cubicBezTo>
                    <a:pt x="50" y="1387"/>
                    <a:pt x="50" y="1387"/>
                    <a:pt x="50" y="1387"/>
                  </a:cubicBezTo>
                  <a:cubicBezTo>
                    <a:pt x="60" y="1393"/>
                    <a:pt x="60" y="1393"/>
                    <a:pt x="60" y="1393"/>
                  </a:cubicBezTo>
                  <a:cubicBezTo>
                    <a:pt x="60" y="1402"/>
                    <a:pt x="60" y="1402"/>
                    <a:pt x="60" y="1402"/>
                  </a:cubicBezTo>
                  <a:cubicBezTo>
                    <a:pt x="55" y="1407"/>
                    <a:pt x="55" y="1407"/>
                    <a:pt x="55" y="1407"/>
                  </a:cubicBezTo>
                  <a:cubicBezTo>
                    <a:pt x="43" y="1409"/>
                    <a:pt x="43" y="1409"/>
                    <a:pt x="43" y="1409"/>
                  </a:cubicBezTo>
                  <a:cubicBezTo>
                    <a:pt x="26" y="1426"/>
                    <a:pt x="26" y="1426"/>
                    <a:pt x="26" y="1426"/>
                  </a:cubicBezTo>
                  <a:cubicBezTo>
                    <a:pt x="26" y="1437"/>
                    <a:pt x="26" y="1437"/>
                    <a:pt x="26" y="1437"/>
                  </a:cubicBezTo>
                  <a:cubicBezTo>
                    <a:pt x="23" y="1444"/>
                    <a:pt x="23" y="1444"/>
                    <a:pt x="23" y="1444"/>
                  </a:cubicBezTo>
                  <a:cubicBezTo>
                    <a:pt x="16" y="1451"/>
                    <a:pt x="16" y="1451"/>
                    <a:pt x="16" y="1451"/>
                  </a:cubicBezTo>
                  <a:cubicBezTo>
                    <a:pt x="11" y="1452"/>
                    <a:pt x="11" y="1452"/>
                    <a:pt x="11" y="1452"/>
                  </a:cubicBezTo>
                  <a:cubicBezTo>
                    <a:pt x="11" y="1461"/>
                    <a:pt x="11" y="1461"/>
                    <a:pt x="11" y="1461"/>
                  </a:cubicBezTo>
                  <a:cubicBezTo>
                    <a:pt x="4" y="1468"/>
                    <a:pt x="4" y="1468"/>
                    <a:pt x="4" y="1468"/>
                  </a:cubicBezTo>
                  <a:cubicBezTo>
                    <a:pt x="0" y="1476"/>
                    <a:pt x="0" y="1476"/>
                    <a:pt x="0" y="1476"/>
                  </a:cubicBezTo>
                  <a:cubicBezTo>
                    <a:pt x="0" y="1484"/>
                    <a:pt x="0" y="1484"/>
                    <a:pt x="0" y="1484"/>
                  </a:cubicBezTo>
                  <a:cubicBezTo>
                    <a:pt x="10" y="1489"/>
                    <a:pt x="10" y="1489"/>
                    <a:pt x="10" y="1489"/>
                  </a:cubicBezTo>
                  <a:cubicBezTo>
                    <a:pt x="15" y="1505"/>
                    <a:pt x="15" y="1505"/>
                    <a:pt x="15" y="1505"/>
                  </a:cubicBezTo>
                  <a:cubicBezTo>
                    <a:pt x="12" y="1515"/>
                    <a:pt x="12" y="1515"/>
                    <a:pt x="12" y="1515"/>
                  </a:cubicBezTo>
                  <a:cubicBezTo>
                    <a:pt x="12" y="1527"/>
                    <a:pt x="12" y="1527"/>
                    <a:pt x="12" y="1527"/>
                  </a:cubicBezTo>
                  <a:cubicBezTo>
                    <a:pt x="4" y="1536"/>
                    <a:pt x="4" y="1536"/>
                    <a:pt x="4" y="1536"/>
                  </a:cubicBezTo>
                  <a:cubicBezTo>
                    <a:pt x="7" y="1547"/>
                    <a:pt x="7" y="1547"/>
                    <a:pt x="7" y="1547"/>
                  </a:cubicBezTo>
                  <a:cubicBezTo>
                    <a:pt x="22" y="1551"/>
                    <a:pt x="22" y="1551"/>
                    <a:pt x="22" y="1551"/>
                  </a:cubicBezTo>
                  <a:cubicBezTo>
                    <a:pt x="35" y="1543"/>
                    <a:pt x="35" y="1543"/>
                    <a:pt x="35" y="1543"/>
                  </a:cubicBezTo>
                  <a:cubicBezTo>
                    <a:pt x="45" y="1553"/>
                    <a:pt x="45" y="1553"/>
                    <a:pt x="45" y="1553"/>
                  </a:cubicBezTo>
                  <a:cubicBezTo>
                    <a:pt x="41" y="1569"/>
                    <a:pt x="41" y="1569"/>
                    <a:pt x="41" y="1569"/>
                  </a:cubicBezTo>
                  <a:cubicBezTo>
                    <a:pt x="54" y="1573"/>
                    <a:pt x="54" y="1573"/>
                    <a:pt x="54" y="1573"/>
                  </a:cubicBezTo>
                  <a:cubicBezTo>
                    <a:pt x="61" y="1565"/>
                    <a:pt x="61" y="1565"/>
                    <a:pt x="61" y="1565"/>
                  </a:cubicBezTo>
                  <a:cubicBezTo>
                    <a:pt x="73" y="1573"/>
                    <a:pt x="73" y="1573"/>
                    <a:pt x="73" y="1573"/>
                  </a:cubicBezTo>
                  <a:cubicBezTo>
                    <a:pt x="87" y="1573"/>
                    <a:pt x="87" y="1573"/>
                    <a:pt x="87" y="1573"/>
                  </a:cubicBezTo>
                  <a:cubicBezTo>
                    <a:pt x="87" y="1582"/>
                    <a:pt x="87" y="1582"/>
                    <a:pt x="87" y="1582"/>
                  </a:cubicBezTo>
                  <a:cubicBezTo>
                    <a:pt x="71" y="1589"/>
                    <a:pt x="71" y="1589"/>
                    <a:pt x="71" y="1589"/>
                  </a:cubicBezTo>
                  <a:cubicBezTo>
                    <a:pt x="67" y="1607"/>
                    <a:pt x="67" y="1607"/>
                    <a:pt x="67" y="1607"/>
                  </a:cubicBezTo>
                  <a:cubicBezTo>
                    <a:pt x="78" y="1607"/>
                    <a:pt x="78" y="1607"/>
                    <a:pt x="78" y="1607"/>
                  </a:cubicBezTo>
                  <a:cubicBezTo>
                    <a:pt x="92" y="1601"/>
                    <a:pt x="92" y="1601"/>
                    <a:pt x="92" y="1601"/>
                  </a:cubicBezTo>
                  <a:cubicBezTo>
                    <a:pt x="99" y="1611"/>
                    <a:pt x="99" y="1611"/>
                    <a:pt x="99" y="1611"/>
                  </a:cubicBezTo>
                  <a:cubicBezTo>
                    <a:pt x="115" y="1603"/>
                    <a:pt x="115" y="1603"/>
                    <a:pt x="115" y="1603"/>
                  </a:cubicBezTo>
                  <a:cubicBezTo>
                    <a:pt x="134" y="1597"/>
                    <a:pt x="134" y="1597"/>
                    <a:pt x="134" y="1597"/>
                  </a:cubicBezTo>
                  <a:cubicBezTo>
                    <a:pt x="145" y="1586"/>
                    <a:pt x="145" y="1586"/>
                    <a:pt x="145" y="1586"/>
                  </a:cubicBezTo>
                  <a:cubicBezTo>
                    <a:pt x="155" y="1586"/>
                    <a:pt x="155" y="1586"/>
                    <a:pt x="155" y="1586"/>
                  </a:cubicBezTo>
                  <a:cubicBezTo>
                    <a:pt x="169" y="1585"/>
                    <a:pt x="169" y="1585"/>
                    <a:pt x="169" y="1585"/>
                  </a:cubicBezTo>
                  <a:cubicBezTo>
                    <a:pt x="179" y="1575"/>
                    <a:pt x="179" y="1575"/>
                    <a:pt x="179" y="1575"/>
                  </a:cubicBezTo>
                  <a:cubicBezTo>
                    <a:pt x="191" y="1575"/>
                    <a:pt x="191" y="1575"/>
                    <a:pt x="191" y="1575"/>
                  </a:cubicBezTo>
                  <a:cubicBezTo>
                    <a:pt x="195" y="1585"/>
                    <a:pt x="195" y="1585"/>
                    <a:pt x="195" y="1585"/>
                  </a:cubicBezTo>
                  <a:cubicBezTo>
                    <a:pt x="187" y="1595"/>
                    <a:pt x="187" y="1595"/>
                    <a:pt x="187" y="1595"/>
                  </a:cubicBezTo>
                  <a:cubicBezTo>
                    <a:pt x="177" y="1595"/>
                    <a:pt x="177" y="1595"/>
                    <a:pt x="177" y="1595"/>
                  </a:cubicBezTo>
                  <a:cubicBezTo>
                    <a:pt x="177" y="1607"/>
                    <a:pt x="177" y="1607"/>
                    <a:pt x="177" y="1607"/>
                  </a:cubicBezTo>
                  <a:cubicBezTo>
                    <a:pt x="189" y="1612"/>
                    <a:pt x="189" y="1612"/>
                    <a:pt x="189" y="1612"/>
                  </a:cubicBezTo>
                  <a:cubicBezTo>
                    <a:pt x="197" y="1620"/>
                    <a:pt x="197" y="1620"/>
                    <a:pt x="197" y="1620"/>
                  </a:cubicBezTo>
                  <a:cubicBezTo>
                    <a:pt x="205" y="1637"/>
                    <a:pt x="205" y="1637"/>
                    <a:pt x="205" y="1637"/>
                  </a:cubicBezTo>
                  <a:cubicBezTo>
                    <a:pt x="212" y="1644"/>
                    <a:pt x="212" y="1644"/>
                    <a:pt x="212" y="1644"/>
                  </a:cubicBezTo>
                  <a:cubicBezTo>
                    <a:pt x="223" y="1655"/>
                    <a:pt x="223" y="1655"/>
                    <a:pt x="223" y="1655"/>
                  </a:cubicBezTo>
                  <a:cubicBezTo>
                    <a:pt x="231" y="1682"/>
                    <a:pt x="231" y="1682"/>
                    <a:pt x="231" y="1682"/>
                  </a:cubicBezTo>
                  <a:cubicBezTo>
                    <a:pt x="231" y="1704"/>
                    <a:pt x="231" y="1704"/>
                    <a:pt x="231" y="1704"/>
                  </a:cubicBezTo>
                  <a:cubicBezTo>
                    <a:pt x="242" y="1714"/>
                    <a:pt x="242" y="1714"/>
                    <a:pt x="242" y="1714"/>
                  </a:cubicBezTo>
                  <a:cubicBezTo>
                    <a:pt x="242" y="1730"/>
                    <a:pt x="242" y="1730"/>
                    <a:pt x="242" y="1730"/>
                  </a:cubicBezTo>
                  <a:cubicBezTo>
                    <a:pt x="253" y="1750"/>
                    <a:pt x="253" y="1750"/>
                    <a:pt x="253" y="1750"/>
                  </a:cubicBezTo>
                  <a:cubicBezTo>
                    <a:pt x="257" y="1767"/>
                    <a:pt x="257" y="1767"/>
                    <a:pt x="257" y="1767"/>
                  </a:cubicBezTo>
                  <a:cubicBezTo>
                    <a:pt x="261" y="1783"/>
                    <a:pt x="261" y="1783"/>
                    <a:pt x="261" y="1783"/>
                  </a:cubicBezTo>
                  <a:cubicBezTo>
                    <a:pt x="270" y="1800"/>
                    <a:pt x="270" y="1800"/>
                    <a:pt x="270" y="1800"/>
                  </a:cubicBezTo>
                  <a:cubicBezTo>
                    <a:pt x="285" y="1797"/>
                    <a:pt x="285" y="1797"/>
                    <a:pt x="285" y="1797"/>
                  </a:cubicBezTo>
                  <a:cubicBezTo>
                    <a:pt x="292" y="1782"/>
                    <a:pt x="292" y="1782"/>
                    <a:pt x="292" y="1782"/>
                  </a:cubicBezTo>
                  <a:cubicBezTo>
                    <a:pt x="303" y="1779"/>
                    <a:pt x="303" y="1779"/>
                    <a:pt x="303" y="1779"/>
                  </a:cubicBezTo>
                  <a:cubicBezTo>
                    <a:pt x="310" y="1787"/>
                    <a:pt x="310" y="1787"/>
                    <a:pt x="310" y="1787"/>
                  </a:cubicBezTo>
                  <a:cubicBezTo>
                    <a:pt x="310" y="1797"/>
                    <a:pt x="310" y="1797"/>
                    <a:pt x="310" y="1797"/>
                  </a:cubicBezTo>
                  <a:cubicBezTo>
                    <a:pt x="317" y="1805"/>
                    <a:pt x="317" y="1805"/>
                    <a:pt x="317" y="1805"/>
                  </a:cubicBezTo>
                  <a:cubicBezTo>
                    <a:pt x="325" y="1813"/>
                    <a:pt x="325" y="1813"/>
                    <a:pt x="325" y="1813"/>
                  </a:cubicBezTo>
                  <a:cubicBezTo>
                    <a:pt x="340" y="1810"/>
                    <a:pt x="340" y="1810"/>
                    <a:pt x="340" y="1810"/>
                  </a:cubicBezTo>
                  <a:cubicBezTo>
                    <a:pt x="347" y="1817"/>
                    <a:pt x="347" y="1817"/>
                    <a:pt x="347" y="1817"/>
                  </a:cubicBezTo>
                  <a:cubicBezTo>
                    <a:pt x="363" y="1814"/>
                    <a:pt x="363" y="1814"/>
                    <a:pt x="363" y="1814"/>
                  </a:cubicBezTo>
                  <a:cubicBezTo>
                    <a:pt x="372" y="1806"/>
                    <a:pt x="372" y="1806"/>
                    <a:pt x="372" y="1806"/>
                  </a:cubicBezTo>
                  <a:cubicBezTo>
                    <a:pt x="389" y="1806"/>
                    <a:pt x="389" y="1806"/>
                    <a:pt x="389" y="1806"/>
                  </a:cubicBezTo>
                  <a:cubicBezTo>
                    <a:pt x="397" y="1814"/>
                    <a:pt x="397" y="1814"/>
                    <a:pt x="397" y="1814"/>
                  </a:cubicBezTo>
                  <a:cubicBezTo>
                    <a:pt x="409" y="1819"/>
                    <a:pt x="409" y="1819"/>
                    <a:pt x="409" y="1819"/>
                  </a:cubicBezTo>
                  <a:cubicBezTo>
                    <a:pt x="419" y="1828"/>
                    <a:pt x="419" y="1828"/>
                    <a:pt x="419" y="1828"/>
                  </a:cubicBezTo>
                  <a:cubicBezTo>
                    <a:pt x="421" y="1844"/>
                    <a:pt x="421" y="1844"/>
                    <a:pt x="421" y="1844"/>
                  </a:cubicBezTo>
                  <a:cubicBezTo>
                    <a:pt x="433" y="1851"/>
                    <a:pt x="433" y="1851"/>
                    <a:pt x="433" y="1851"/>
                  </a:cubicBezTo>
                  <a:cubicBezTo>
                    <a:pt x="438" y="1863"/>
                    <a:pt x="438" y="1863"/>
                    <a:pt x="438" y="1863"/>
                  </a:cubicBezTo>
                  <a:cubicBezTo>
                    <a:pt x="452" y="1872"/>
                    <a:pt x="452" y="1872"/>
                    <a:pt x="452" y="1872"/>
                  </a:cubicBezTo>
                  <a:cubicBezTo>
                    <a:pt x="452" y="1888"/>
                    <a:pt x="452" y="1888"/>
                    <a:pt x="452" y="1888"/>
                  </a:cubicBezTo>
                  <a:cubicBezTo>
                    <a:pt x="470" y="1893"/>
                    <a:pt x="470" y="1893"/>
                    <a:pt x="470" y="1893"/>
                  </a:cubicBezTo>
                  <a:cubicBezTo>
                    <a:pt x="486" y="1898"/>
                    <a:pt x="486" y="1898"/>
                    <a:pt x="486" y="1898"/>
                  </a:cubicBezTo>
                  <a:cubicBezTo>
                    <a:pt x="503" y="1891"/>
                    <a:pt x="503" y="1891"/>
                    <a:pt x="503" y="1891"/>
                  </a:cubicBezTo>
                  <a:cubicBezTo>
                    <a:pt x="514" y="1881"/>
                    <a:pt x="514" y="1881"/>
                    <a:pt x="514" y="1881"/>
                  </a:cubicBezTo>
                  <a:cubicBezTo>
                    <a:pt x="517" y="1895"/>
                    <a:pt x="517" y="1895"/>
                    <a:pt x="517" y="1895"/>
                  </a:cubicBezTo>
                  <a:cubicBezTo>
                    <a:pt x="525" y="1908"/>
                    <a:pt x="525" y="1908"/>
                    <a:pt x="525" y="1908"/>
                  </a:cubicBezTo>
                  <a:cubicBezTo>
                    <a:pt x="531" y="1918"/>
                    <a:pt x="531" y="1918"/>
                    <a:pt x="531" y="1918"/>
                  </a:cubicBezTo>
                  <a:cubicBezTo>
                    <a:pt x="550" y="1921"/>
                    <a:pt x="550" y="1921"/>
                    <a:pt x="550" y="1921"/>
                  </a:cubicBezTo>
                  <a:cubicBezTo>
                    <a:pt x="559" y="1913"/>
                    <a:pt x="559" y="1913"/>
                    <a:pt x="559" y="1913"/>
                  </a:cubicBezTo>
                  <a:cubicBezTo>
                    <a:pt x="575" y="1903"/>
                    <a:pt x="575" y="1903"/>
                    <a:pt x="575" y="1903"/>
                  </a:cubicBezTo>
                  <a:cubicBezTo>
                    <a:pt x="595" y="1904"/>
                    <a:pt x="595" y="1904"/>
                    <a:pt x="595" y="1904"/>
                  </a:cubicBezTo>
                  <a:cubicBezTo>
                    <a:pt x="606" y="1893"/>
                    <a:pt x="606" y="1893"/>
                    <a:pt x="606" y="1893"/>
                  </a:cubicBezTo>
                  <a:cubicBezTo>
                    <a:pt x="622" y="1889"/>
                    <a:pt x="622" y="1889"/>
                    <a:pt x="622" y="1889"/>
                  </a:cubicBezTo>
                  <a:cubicBezTo>
                    <a:pt x="625" y="1875"/>
                    <a:pt x="625" y="1875"/>
                    <a:pt x="625" y="1875"/>
                  </a:cubicBezTo>
                  <a:cubicBezTo>
                    <a:pt x="638" y="1875"/>
                    <a:pt x="638" y="1875"/>
                    <a:pt x="638" y="1875"/>
                  </a:cubicBezTo>
                  <a:cubicBezTo>
                    <a:pt x="651" y="1862"/>
                    <a:pt x="651" y="1862"/>
                    <a:pt x="651" y="1862"/>
                  </a:cubicBezTo>
                  <a:cubicBezTo>
                    <a:pt x="673" y="1848"/>
                    <a:pt x="673" y="1848"/>
                    <a:pt x="673" y="1848"/>
                  </a:cubicBezTo>
                  <a:cubicBezTo>
                    <a:pt x="691" y="1848"/>
                    <a:pt x="691" y="1848"/>
                    <a:pt x="691" y="1848"/>
                  </a:cubicBezTo>
                  <a:cubicBezTo>
                    <a:pt x="695" y="1834"/>
                    <a:pt x="695" y="1834"/>
                    <a:pt x="695" y="1834"/>
                  </a:cubicBezTo>
                  <a:cubicBezTo>
                    <a:pt x="710" y="1834"/>
                    <a:pt x="710" y="1834"/>
                    <a:pt x="710" y="1834"/>
                  </a:cubicBezTo>
                  <a:cubicBezTo>
                    <a:pt x="722" y="1822"/>
                    <a:pt x="722" y="1822"/>
                    <a:pt x="722" y="1822"/>
                  </a:cubicBezTo>
                  <a:cubicBezTo>
                    <a:pt x="736" y="1829"/>
                    <a:pt x="736" y="1829"/>
                    <a:pt x="736" y="1829"/>
                  </a:cubicBezTo>
                  <a:cubicBezTo>
                    <a:pt x="747" y="1840"/>
                    <a:pt x="747" y="1840"/>
                    <a:pt x="747" y="1840"/>
                  </a:cubicBezTo>
                  <a:cubicBezTo>
                    <a:pt x="765" y="1833"/>
                    <a:pt x="765" y="1833"/>
                    <a:pt x="765" y="1833"/>
                  </a:cubicBezTo>
                  <a:cubicBezTo>
                    <a:pt x="781" y="1837"/>
                    <a:pt x="781" y="1837"/>
                    <a:pt x="781" y="1837"/>
                  </a:cubicBezTo>
                  <a:cubicBezTo>
                    <a:pt x="793" y="1850"/>
                    <a:pt x="793" y="1850"/>
                    <a:pt x="793" y="1850"/>
                  </a:cubicBezTo>
                  <a:cubicBezTo>
                    <a:pt x="804" y="1861"/>
                    <a:pt x="804" y="1861"/>
                    <a:pt x="804" y="1861"/>
                  </a:cubicBezTo>
                  <a:cubicBezTo>
                    <a:pt x="823" y="1867"/>
                    <a:pt x="823" y="1867"/>
                    <a:pt x="823" y="1867"/>
                  </a:cubicBezTo>
                  <a:cubicBezTo>
                    <a:pt x="837" y="1871"/>
                    <a:pt x="837" y="1871"/>
                    <a:pt x="837" y="1871"/>
                  </a:cubicBezTo>
                  <a:cubicBezTo>
                    <a:pt x="855" y="1868"/>
                    <a:pt x="855" y="1868"/>
                    <a:pt x="855" y="1868"/>
                  </a:cubicBezTo>
                  <a:cubicBezTo>
                    <a:pt x="873" y="1873"/>
                    <a:pt x="873" y="1873"/>
                    <a:pt x="873" y="1873"/>
                  </a:cubicBezTo>
                  <a:cubicBezTo>
                    <a:pt x="893" y="1873"/>
                    <a:pt x="893" y="1873"/>
                    <a:pt x="893" y="1873"/>
                  </a:cubicBezTo>
                  <a:cubicBezTo>
                    <a:pt x="905" y="1873"/>
                    <a:pt x="905" y="1873"/>
                    <a:pt x="905" y="1873"/>
                  </a:cubicBezTo>
                  <a:cubicBezTo>
                    <a:pt x="920" y="1858"/>
                    <a:pt x="920" y="1858"/>
                    <a:pt x="920" y="1858"/>
                  </a:cubicBezTo>
                  <a:cubicBezTo>
                    <a:pt x="936" y="1847"/>
                    <a:pt x="936" y="1847"/>
                    <a:pt x="936" y="1847"/>
                  </a:cubicBezTo>
                  <a:cubicBezTo>
                    <a:pt x="936" y="1831"/>
                    <a:pt x="936" y="1831"/>
                    <a:pt x="936" y="1831"/>
                  </a:cubicBezTo>
                  <a:cubicBezTo>
                    <a:pt x="924" y="1820"/>
                    <a:pt x="924" y="1820"/>
                    <a:pt x="924" y="1820"/>
                  </a:cubicBezTo>
                  <a:cubicBezTo>
                    <a:pt x="924" y="1805"/>
                    <a:pt x="924" y="1805"/>
                    <a:pt x="924" y="1805"/>
                  </a:cubicBezTo>
                  <a:cubicBezTo>
                    <a:pt x="916" y="1795"/>
                    <a:pt x="916" y="1795"/>
                    <a:pt x="916" y="1795"/>
                  </a:cubicBezTo>
                  <a:cubicBezTo>
                    <a:pt x="919" y="1777"/>
                    <a:pt x="919" y="1777"/>
                    <a:pt x="919" y="1777"/>
                  </a:cubicBezTo>
                  <a:cubicBezTo>
                    <a:pt x="928" y="1768"/>
                    <a:pt x="928" y="1768"/>
                    <a:pt x="928" y="1768"/>
                  </a:cubicBezTo>
                  <a:cubicBezTo>
                    <a:pt x="936" y="1751"/>
                    <a:pt x="936" y="1751"/>
                    <a:pt x="936" y="1751"/>
                  </a:cubicBezTo>
                  <a:cubicBezTo>
                    <a:pt x="946" y="1741"/>
                    <a:pt x="946" y="1741"/>
                    <a:pt x="946" y="1741"/>
                  </a:cubicBezTo>
                  <a:cubicBezTo>
                    <a:pt x="954" y="1733"/>
                    <a:pt x="954" y="1733"/>
                    <a:pt x="954" y="1733"/>
                  </a:cubicBezTo>
                  <a:cubicBezTo>
                    <a:pt x="969" y="1745"/>
                    <a:pt x="969" y="1745"/>
                    <a:pt x="969" y="1745"/>
                  </a:cubicBezTo>
                  <a:cubicBezTo>
                    <a:pt x="995" y="1745"/>
                    <a:pt x="995" y="1745"/>
                    <a:pt x="995" y="1745"/>
                  </a:cubicBezTo>
                  <a:cubicBezTo>
                    <a:pt x="1008" y="1758"/>
                    <a:pt x="1008" y="1758"/>
                    <a:pt x="1008" y="1758"/>
                  </a:cubicBezTo>
                  <a:cubicBezTo>
                    <a:pt x="1027" y="1753"/>
                    <a:pt x="1027" y="1753"/>
                    <a:pt x="1027" y="1753"/>
                  </a:cubicBezTo>
                  <a:cubicBezTo>
                    <a:pt x="1044" y="1753"/>
                    <a:pt x="1044" y="1753"/>
                    <a:pt x="1044" y="1753"/>
                  </a:cubicBezTo>
                  <a:cubicBezTo>
                    <a:pt x="1061" y="1759"/>
                    <a:pt x="1061" y="1759"/>
                    <a:pt x="1061" y="1759"/>
                  </a:cubicBezTo>
                  <a:cubicBezTo>
                    <a:pt x="1074" y="1772"/>
                    <a:pt x="1074" y="1772"/>
                    <a:pt x="1074" y="1772"/>
                  </a:cubicBezTo>
                  <a:cubicBezTo>
                    <a:pt x="1083" y="1792"/>
                    <a:pt x="1083" y="1792"/>
                    <a:pt x="1083" y="1792"/>
                  </a:cubicBezTo>
                  <a:cubicBezTo>
                    <a:pt x="1094" y="1802"/>
                    <a:pt x="1094" y="1802"/>
                    <a:pt x="1094" y="1802"/>
                  </a:cubicBezTo>
                  <a:cubicBezTo>
                    <a:pt x="1110" y="1809"/>
                    <a:pt x="1110" y="1809"/>
                    <a:pt x="1110" y="1809"/>
                  </a:cubicBezTo>
                  <a:cubicBezTo>
                    <a:pt x="1134" y="1811"/>
                    <a:pt x="1134" y="1811"/>
                    <a:pt x="1134" y="1811"/>
                  </a:cubicBezTo>
                  <a:cubicBezTo>
                    <a:pt x="1151" y="1807"/>
                    <a:pt x="1151" y="1807"/>
                    <a:pt x="1151" y="1807"/>
                  </a:cubicBezTo>
                  <a:cubicBezTo>
                    <a:pt x="1168" y="1803"/>
                    <a:pt x="1168" y="1803"/>
                    <a:pt x="1168" y="1803"/>
                  </a:cubicBezTo>
                  <a:cubicBezTo>
                    <a:pt x="1184" y="1787"/>
                    <a:pt x="1184" y="1787"/>
                    <a:pt x="1184" y="1787"/>
                  </a:cubicBezTo>
                  <a:cubicBezTo>
                    <a:pt x="1203" y="1787"/>
                    <a:pt x="1203" y="1787"/>
                    <a:pt x="1203" y="1787"/>
                  </a:cubicBezTo>
                  <a:cubicBezTo>
                    <a:pt x="1233" y="1783"/>
                    <a:pt x="1233" y="1783"/>
                    <a:pt x="1233" y="1783"/>
                  </a:cubicBezTo>
                  <a:cubicBezTo>
                    <a:pt x="1243" y="1789"/>
                    <a:pt x="1243" y="1789"/>
                    <a:pt x="1243" y="1789"/>
                  </a:cubicBezTo>
                  <a:cubicBezTo>
                    <a:pt x="1266" y="1792"/>
                    <a:pt x="1266" y="1792"/>
                    <a:pt x="1266" y="1792"/>
                  </a:cubicBezTo>
                  <a:cubicBezTo>
                    <a:pt x="1291" y="1792"/>
                    <a:pt x="1291" y="1792"/>
                    <a:pt x="1291" y="1792"/>
                  </a:cubicBezTo>
                  <a:cubicBezTo>
                    <a:pt x="1301" y="1801"/>
                    <a:pt x="1301" y="1801"/>
                    <a:pt x="1301" y="1801"/>
                  </a:cubicBezTo>
                  <a:cubicBezTo>
                    <a:pt x="1306" y="1811"/>
                    <a:pt x="1306" y="1811"/>
                    <a:pt x="1306" y="1811"/>
                  </a:cubicBezTo>
                  <a:cubicBezTo>
                    <a:pt x="1324" y="1817"/>
                    <a:pt x="1324" y="1817"/>
                    <a:pt x="1324" y="1817"/>
                  </a:cubicBezTo>
                  <a:cubicBezTo>
                    <a:pt x="1344" y="1815"/>
                    <a:pt x="1344" y="1815"/>
                    <a:pt x="1344" y="1815"/>
                  </a:cubicBezTo>
                  <a:cubicBezTo>
                    <a:pt x="1371" y="1815"/>
                    <a:pt x="1371" y="1815"/>
                    <a:pt x="1371" y="1815"/>
                  </a:cubicBezTo>
                  <a:cubicBezTo>
                    <a:pt x="1391" y="1809"/>
                    <a:pt x="1391" y="1809"/>
                    <a:pt x="1391" y="1809"/>
                  </a:cubicBezTo>
                  <a:cubicBezTo>
                    <a:pt x="1412" y="1809"/>
                    <a:pt x="1412" y="1809"/>
                    <a:pt x="1412" y="1809"/>
                  </a:cubicBezTo>
                  <a:cubicBezTo>
                    <a:pt x="1420" y="1800"/>
                    <a:pt x="1420" y="1800"/>
                    <a:pt x="1420" y="1800"/>
                  </a:cubicBezTo>
                  <a:cubicBezTo>
                    <a:pt x="1437" y="1784"/>
                    <a:pt x="1437" y="1784"/>
                    <a:pt x="1437" y="1784"/>
                  </a:cubicBezTo>
                  <a:cubicBezTo>
                    <a:pt x="1458" y="1774"/>
                    <a:pt x="1458" y="1774"/>
                    <a:pt x="1458" y="1774"/>
                  </a:cubicBezTo>
                  <a:cubicBezTo>
                    <a:pt x="1473" y="1763"/>
                    <a:pt x="1473" y="1763"/>
                    <a:pt x="1473" y="1763"/>
                  </a:cubicBezTo>
                  <a:cubicBezTo>
                    <a:pt x="1485" y="1752"/>
                    <a:pt x="1485" y="1752"/>
                    <a:pt x="1485" y="1752"/>
                  </a:cubicBezTo>
                  <a:cubicBezTo>
                    <a:pt x="1491" y="1732"/>
                    <a:pt x="1491" y="1732"/>
                    <a:pt x="1491" y="1732"/>
                  </a:cubicBezTo>
                  <a:cubicBezTo>
                    <a:pt x="1515" y="1708"/>
                    <a:pt x="1515" y="1708"/>
                    <a:pt x="1515" y="1708"/>
                  </a:cubicBezTo>
                  <a:cubicBezTo>
                    <a:pt x="1531" y="1701"/>
                    <a:pt x="1531" y="1701"/>
                    <a:pt x="1531" y="1701"/>
                  </a:cubicBezTo>
                  <a:cubicBezTo>
                    <a:pt x="1544" y="1705"/>
                    <a:pt x="1544" y="1705"/>
                    <a:pt x="1544" y="1705"/>
                  </a:cubicBezTo>
                  <a:cubicBezTo>
                    <a:pt x="1558" y="1713"/>
                    <a:pt x="1558" y="1713"/>
                    <a:pt x="1558" y="1713"/>
                  </a:cubicBezTo>
                  <a:cubicBezTo>
                    <a:pt x="1577" y="1702"/>
                    <a:pt x="1577" y="1702"/>
                    <a:pt x="1577" y="1702"/>
                  </a:cubicBezTo>
                  <a:cubicBezTo>
                    <a:pt x="1590" y="1694"/>
                    <a:pt x="1590" y="1694"/>
                    <a:pt x="1590" y="1694"/>
                  </a:cubicBezTo>
                  <a:cubicBezTo>
                    <a:pt x="1608" y="1697"/>
                    <a:pt x="1608" y="1697"/>
                    <a:pt x="1608" y="1697"/>
                  </a:cubicBezTo>
                  <a:cubicBezTo>
                    <a:pt x="1633" y="1699"/>
                    <a:pt x="1633" y="1699"/>
                    <a:pt x="1633" y="1699"/>
                  </a:cubicBezTo>
                  <a:cubicBezTo>
                    <a:pt x="1655" y="1691"/>
                    <a:pt x="1655" y="1691"/>
                    <a:pt x="1655" y="1691"/>
                  </a:cubicBezTo>
                  <a:cubicBezTo>
                    <a:pt x="1668" y="1678"/>
                    <a:pt x="1668" y="1678"/>
                    <a:pt x="1668" y="1678"/>
                  </a:cubicBezTo>
                  <a:cubicBezTo>
                    <a:pt x="1677" y="1657"/>
                    <a:pt x="1677" y="1657"/>
                    <a:pt x="1677" y="1657"/>
                  </a:cubicBezTo>
                  <a:cubicBezTo>
                    <a:pt x="1691" y="1653"/>
                    <a:pt x="1691" y="1653"/>
                    <a:pt x="1691" y="1653"/>
                  </a:cubicBezTo>
                  <a:cubicBezTo>
                    <a:pt x="1691" y="1635"/>
                    <a:pt x="1691" y="1635"/>
                    <a:pt x="1691" y="1635"/>
                  </a:cubicBezTo>
                  <a:cubicBezTo>
                    <a:pt x="1685" y="1629"/>
                    <a:pt x="1685" y="1629"/>
                    <a:pt x="1685" y="1629"/>
                  </a:cubicBezTo>
                  <a:cubicBezTo>
                    <a:pt x="1675" y="1609"/>
                    <a:pt x="1675" y="1609"/>
                    <a:pt x="1675" y="1609"/>
                  </a:cubicBezTo>
                  <a:cubicBezTo>
                    <a:pt x="1682" y="1591"/>
                    <a:pt x="1682" y="1591"/>
                    <a:pt x="1682" y="1591"/>
                  </a:cubicBezTo>
                  <a:cubicBezTo>
                    <a:pt x="1682" y="1573"/>
                    <a:pt x="1682" y="1573"/>
                    <a:pt x="1682" y="1573"/>
                  </a:cubicBezTo>
                  <a:cubicBezTo>
                    <a:pt x="1686" y="1544"/>
                    <a:pt x="1686" y="1544"/>
                    <a:pt x="1686" y="1544"/>
                  </a:cubicBezTo>
                  <a:cubicBezTo>
                    <a:pt x="1691" y="1533"/>
                    <a:pt x="1691" y="1533"/>
                    <a:pt x="1691" y="1533"/>
                  </a:cubicBezTo>
                  <a:cubicBezTo>
                    <a:pt x="1686" y="1511"/>
                    <a:pt x="1686" y="1511"/>
                    <a:pt x="1686" y="1511"/>
                  </a:cubicBezTo>
                  <a:cubicBezTo>
                    <a:pt x="1677" y="1502"/>
                    <a:pt x="1677" y="1502"/>
                    <a:pt x="1677" y="1502"/>
                  </a:cubicBezTo>
                  <a:cubicBezTo>
                    <a:pt x="1668" y="1494"/>
                    <a:pt x="1668" y="1494"/>
                    <a:pt x="1668" y="1494"/>
                  </a:cubicBezTo>
                  <a:cubicBezTo>
                    <a:pt x="1658" y="1502"/>
                    <a:pt x="1658" y="1502"/>
                    <a:pt x="1658" y="1502"/>
                  </a:cubicBezTo>
                  <a:cubicBezTo>
                    <a:pt x="1651" y="1493"/>
                    <a:pt x="1651" y="1493"/>
                    <a:pt x="1651" y="1493"/>
                  </a:cubicBezTo>
                  <a:cubicBezTo>
                    <a:pt x="1656" y="1479"/>
                    <a:pt x="1656" y="1479"/>
                    <a:pt x="1656" y="1479"/>
                  </a:cubicBezTo>
                  <a:cubicBezTo>
                    <a:pt x="1663" y="1457"/>
                    <a:pt x="1663" y="1457"/>
                    <a:pt x="1663" y="1457"/>
                  </a:cubicBezTo>
                  <a:cubicBezTo>
                    <a:pt x="1674" y="1447"/>
                    <a:pt x="1674" y="1447"/>
                    <a:pt x="1674" y="1447"/>
                  </a:cubicBezTo>
                  <a:cubicBezTo>
                    <a:pt x="1695" y="1435"/>
                    <a:pt x="1695" y="1435"/>
                    <a:pt x="1695" y="1435"/>
                  </a:cubicBezTo>
                  <a:cubicBezTo>
                    <a:pt x="1685" y="1418"/>
                    <a:pt x="1685" y="1418"/>
                    <a:pt x="1685" y="1418"/>
                  </a:cubicBezTo>
                  <a:cubicBezTo>
                    <a:pt x="1681" y="1409"/>
                    <a:pt x="1681" y="1409"/>
                    <a:pt x="1681" y="1409"/>
                  </a:cubicBezTo>
                  <a:cubicBezTo>
                    <a:pt x="1669" y="1409"/>
                    <a:pt x="1669" y="1409"/>
                    <a:pt x="1669" y="1409"/>
                  </a:cubicBezTo>
                  <a:cubicBezTo>
                    <a:pt x="1666" y="1395"/>
                    <a:pt x="1666" y="1395"/>
                    <a:pt x="1666" y="1395"/>
                  </a:cubicBezTo>
                  <a:cubicBezTo>
                    <a:pt x="1660" y="1386"/>
                    <a:pt x="1660" y="1386"/>
                    <a:pt x="1660" y="1386"/>
                  </a:cubicBezTo>
                  <a:cubicBezTo>
                    <a:pt x="1670" y="1380"/>
                    <a:pt x="1670" y="1380"/>
                    <a:pt x="1670" y="1380"/>
                  </a:cubicBezTo>
                  <a:cubicBezTo>
                    <a:pt x="1670" y="1376"/>
                    <a:pt x="1670" y="1376"/>
                    <a:pt x="1670" y="1376"/>
                  </a:cubicBezTo>
                  <a:cubicBezTo>
                    <a:pt x="1665" y="1376"/>
                    <a:pt x="1665" y="1376"/>
                    <a:pt x="1665" y="1376"/>
                  </a:cubicBezTo>
                  <a:cubicBezTo>
                    <a:pt x="1656" y="1366"/>
                    <a:pt x="1656" y="1366"/>
                    <a:pt x="1656" y="1366"/>
                  </a:cubicBezTo>
                  <a:cubicBezTo>
                    <a:pt x="1649" y="1365"/>
                    <a:pt x="1649" y="1365"/>
                    <a:pt x="1649" y="1365"/>
                  </a:cubicBezTo>
                  <a:cubicBezTo>
                    <a:pt x="1650" y="1348"/>
                    <a:pt x="1650" y="1348"/>
                    <a:pt x="1650" y="1348"/>
                  </a:cubicBezTo>
                  <a:cubicBezTo>
                    <a:pt x="1646" y="1340"/>
                    <a:pt x="1646" y="1340"/>
                    <a:pt x="1646" y="1340"/>
                  </a:cubicBezTo>
                  <a:cubicBezTo>
                    <a:pt x="1641" y="1327"/>
                    <a:pt x="1641" y="1327"/>
                    <a:pt x="1641" y="1327"/>
                  </a:cubicBezTo>
                  <a:cubicBezTo>
                    <a:pt x="1631" y="1322"/>
                    <a:pt x="1631" y="1322"/>
                    <a:pt x="1631" y="1322"/>
                  </a:cubicBezTo>
                  <a:cubicBezTo>
                    <a:pt x="1623" y="1333"/>
                    <a:pt x="1623" y="1333"/>
                    <a:pt x="1623" y="1333"/>
                  </a:cubicBezTo>
                  <a:cubicBezTo>
                    <a:pt x="1615" y="1330"/>
                    <a:pt x="1615" y="1330"/>
                    <a:pt x="1615" y="1330"/>
                  </a:cubicBezTo>
                  <a:cubicBezTo>
                    <a:pt x="1614" y="1318"/>
                    <a:pt x="1614" y="1318"/>
                    <a:pt x="1614" y="1318"/>
                  </a:cubicBezTo>
                  <a:cubicBezTo>
                    <a:pt x="1609" y="1313"/>
                    <a:pt x="1609" y="1313"/>
                    <a:pt x="1609" y="1313"/>
                  </a:cubicBezTo>
                  <a:cubicBezTo>
                    <a:pt x="1601" y="1311"/>
                    <a:pt x="1601" y="1311"/>
                    <a:pt x="1601" y="1311"/>
                  </a:cubicBezTo>
                  <a:cubicBezTo>
                    <a:pt x="1593" y="1319"/>
                    <a:pt x="1593" y="1319"/>
                    <a:pt x="1593" y="1319"/>
                  </a:cubicBezTo>
                  <a:cubicBezTo>
                    <a:pt x="1589" y="1329"/>
                    <a:pt x="1589" y="1329"/>
                    <a:pt x="1589" y="1329"/>
                  </a:cubicBezTo>
                  <a:cubicBezTo>
                    <a:pt x="1575" y="1325"/>
                    <a:pt x="1575" y="1325"/>
                    <a:pt x="1575" y="1325"/>
                  </a:cubicBezTo>
                  <a:cubicBezTo>
                    <a:pt x="1571" y="1317"/>
                    <a:pt x="1571" y="1317"/>
                    <a:pt x="1571" y="1317"/>
                  </a:cubicBezTo>
                  <a:cubicBezTo>
                    <a:pt x="1579" y="1307"/>
                    <a:pt x="1579" y="1307"/>
                    <a:pt x="1579" y="1307"/>
                  </a:cubicBezTo>
                  <a:cubicBezTo>
                    <a:pt x="1574" y="1299"/>
                    <a:pt x="1574" y="1299"/>
                    <a:pt x="1574" y="1299"/>
                  </a:cubicBezTo>
                  <a:cubicBezTo>
                    <a:pt x="1565" y="1302"/>
                    <a:pt x="1565" y="1302"/>
                    <a:pt x="1565" y="1302"/>
                  </a:cubicBezTo>
                  <a:cubicBezTo>
                    <a:pt x="1554" y="1299"/>
                    <a:pt x="1554" y="1299"/>
                    <a:pt x="1554" y="1299"/>
                  </a:cubicBezTo>
                  <a:cubicBezTo>
                    <a:pt x="1546" y="1291"/>
                    <a:pt x="1546" y="1291"/>
                    <a:pt x="1546" y="1291"/>
                  </a:cubicBezTo>
                  <a:cubicBezTo>
                    <a:pt x="1545" y="1283"/>
                    <a:pt x="1545" y="1283"/>
                    <a:pt x="1545" y="1283"/>
                  </a:cubicBezTo>
                  <a:cubicBezTo>
                    <a:pt x="1535" y="1280"/>
                    <a:pt x="1535" y="1280"/>
                    <a:pt x="1535" y="1280"/>
                  </a:cubicBezTo>
                  <a:cubicBezTo>
                    <a:pt x="1535" y="1269"/>
                    <a:pt x="1535" y="1269"/>
                    <a:pt x="1535" y="1269"/>
                  </a:cubicBezTo>
                  <a:cubicBezTo>
                    <a:pt x="1525" y="1265"/>
                    <a:pt x="1525" y="1265"/>
                    <a:pt x="1525" y="1265"/>
                  </a:cubicBezTo>
                  <a:cubicBezTo>
                    <a:pt x="1514" y="1252"/>
                    <a:pt x="1514" y="1252"/>
                    <a:pt x="1514" y="1252"/>
                  </a:cubicBezTo>
                  <a:cubicBezTo>
                    <a:pt x="1500" y="1246"/>
                    <a:pt x="1500" y="1246"/>
                    <a:pt x="1500" y="1246"/>
                  </a:cubicBezTo>
                  <a:cubicBezTo>
                    <a:pt x="1497" y="1231"/>
                    <a:pt x="1497" y="1231"/>
                    <a:pt x="1497" y="1231"/>
                  </a:cubicBezTo>
                  <a:cubicBezTo>
                    <a:pt x="1490" y="1224"/>
                    <a:pt x="1490" y="1224"/>
                    <a:pt x="1490" y="1224"/>
                  </a:cubicBezTo>
                  <a:cubicBezTo>
                    <a:pt x="1492" y="1217"/>
                    <a:pt x="1492" y="1217"/>
                    <a:pt x="1492" y="1217"/>
                  </a:cubicBezTo>
                  <a:cubicBezTo>
                    <a:pt x="1473" y="1198"/>
                    <a:pt x="1473" y="1198"/>
                    <a:pt x="1473" y="1198"/>
                  </a:cubicBezTo>
                  <a:cubicBezTo>
                    <a:pt x="1468" y="1183"/>
                    <a:pt x="1468" y="1183"/>
                    <a:pt x="1468" y="1183"/>
                  </a:cubicBezTo>
                  <a:cubicBezTo>
                    <a:pt x="1459" y="1182"/>
                    <a:pt x="1459" y="1182"/>
                    <a:pt x="1459" y="1182"/>
                  </a:cubicBezTo>
                  <a:cubicBezTo>
                    <a:pt x="1459" y="1172"/>
                    <a:pt x="1459" y="1172"/>
                    <a:pt x="1459" y="1172"/>
                  </a:cubicBezTo>
                  <a:cubicBezTo>
                    <a:pt x="1450" y="1163"/>
                    <a:pt x="1450" y="1163"/>
                    <a:pt x="1450" y="1163"/>
                  </a:cubicBezTo>
                  <a:cubicBezTo>
                    <a:pt x="1443" y="1155"/>
                    <a:pt x="1443" y="1155"/>
                    <a:pt x="1443" y="1155"/>
                  </a:cubicBezTo>
                  <a:cubicBezTo>
                    <a:pt x="1432" y="1155"/>
                    <a:pt x="1432" y="1155"/>
                    <a:pt x="1432" y="1155"/>
                  </a:cubicBezTo>
                  <a:cubicBezTo>
                    <a:pt x="1432" y="1166"/>
                    <a:pt x="1432" y="1166"/>
                    <a:pt x="1432" y="1166"/>
                  </a:cubicBezTo>
                  <a:cubicBezTo>
                    <a:pt x="1423" y="1175"/>
                    <a:pt x="1423" y="1175"/>
                    <a:pt x="1423" y="1175"/>
                  </a:cubicBezTo>
                  <a:cubicBezTo>
                    <a:pt x="1408" y="1173"/>
                    <a:pt x="1408" y="1173"/>
                    <a:pt x="1408" y="1173"/>
                  </a:cubicBezTo>
                  <a:cubicBezTo>
                    <a:pt x="1408" y="1163"/>
                    <a:pt x="1408" y="1163"/>
                    <a:pt x="1408" y="1163"/>
                  </a:cubicBezTo>
                  <a:cubicBezTo>
                    <a:pt x="1402" y="1158"/>
                    <a:pt x="1402" y="1158"/>
                    <a:pt x="1402" y="1158"/>
                  </a:cubicBezTo>
                  <a:cubicBezTo>
                    <a:pt x="1402" y="1146"/>
                    <a:pt x="1402" y="1146"/>
                    <a:pt x="1402" y="1146"/>
                  </a:cubicBezTo>
                  <a:cubicBezTo>
                    <a:pt x="1389" y="1144"/>
                    <a:pt x="1389" y="1144"/>
                    <a:pt x="1389" y="1144"/>
                  </a:cubicBezTo>
                  <a:cubicBezTo>
                    <a:pt x="1374" y="1137"/>
                    <a:pt x="1374" y="1137"/>
                    <a:pt x="1374" y="1137"/>
                  </a:cubicBezTo>
                  <a:cubicBezTo>
                    <a:pt x="1360" y="1139"/>
                    <a:pt x="1360" y="1139"/>
                    <a:pt x="1360" y="1139"/>
                  </a:cubicBezTo>
                  <a:cubicBezTo>
                    <a:pt x="1346" y="1137"/>
                    <a:pt x="1346" y="1137"/>
                    <a:pt x="1346" y="1137"/>
                  </a:cubicBezTo>
                  <a:cubicBezTo>
                    <a:pt x="1338" y="1146"/>
                    <a:pt x="1338" y="1146"/>
                    <a:pt x="1338" y="1146"/>
                  </a:cubicBezTo>
                  <a:cubicBezTo>
                    <a:pt x="1334" y="1159"/>
                    <a:pt x="1334" y="1159"/>
                    <a:pt x="1334" y="1159"/>
                  </a:cubicBezTo>
                  <a:cubicBezTo>
                    <a:pt x="1325" y="1169"/>
                    <a:pt x="1325" y="1169"/>
                    <a:pt x="1325" y="1169"/>
                  </a:cubicBezTo>
                  <a:cubicBezTo>
                    <a:pt x="1329" y="1182"/>
                    <a:pt x="1329" y="1182"/>
                    <a:pt x="1329" y="1182"/>
                  </a:cubicBezTo>
                  <a:cubicBezTo>
                    <a:pt x="1324" y="1197"/>
                    <a:pt x="1324" y="1197"/>
                    <a:pt x="1324" y="1197"/>
                  </a:cubicBezTo>
                  <a:cubicBezTo>
                    <a:pt x="1311" y="1209"/>
                    <a:pt x="1311" y="1209"/>
                    <a:pt x="1311" y="1209"/>
                  </a:cubicBezTo>
                  <a:cubicBezTo>
                    <a:pt x="1311" y="1232"/>
                    <a:pt x="1311" y="1232"/>
                    <a:pt x="1311" y="1232"/>
                  </a:cubicBezTo>
                  <a:cubicBezTo>
                    <a:pt x="1294" y="1244"/>
                    <a:pt x="1294" y="1244"/>
                    <a:pt x="1294" y="1244"/>
                  </a:cubicBezTo>
                  <a:cubicBezTo>
                    <a:pt x="1294" y="1258"/>
                    <a:pt x="1294" y="1258"/>
                    <a:pt x="1294" y="1258"/>
                  </a:cubicBezTo>
                  <a:cubicBezTo>
                    <a:pt x="1286" y="1248"/>
                    <a:pt x="1286" y="1248"/>
                    <a:pt x="1286" y="1248"/>
                  </a:cubicBezTo>
                  <a:cubicBezTo>
                    <a:pt x="1286" y="1236"/>
                    <a:pt x="1286" y="1236"/>
                    <a:pt x="1286" y="1236"/>
                  </a:cubicBezTo>
                  <a:cubicBezTo>
                    <a:pt x="1277" y="1227"/>
                    <a:pt x="1277" y="1227"/>
                    <a:pt x="1277" y="1227"/>
                  </a:cubicBezTo>
                  <a:cubicBezTo>
                    <a:pt x="1269" y="1231"/>
                    <a:pt x="1269" y="1231"/>
                    <a:pt x="1269" y="1231"/>
                  </a:cubicBezTo>
                  <a:cubicBezTo>
                    <a:pt x="1267" y="1242"/>
                    <a:pt x="1267" y="1242"/>
                    <a:pt x="1267" y="1242"/>
                  </a:cubicBezTo>
                  <a:cubicBezTo>
                    <a:pt x="1245" y="1250"/>
                    <a:pt x="1245" y="1250"/>
                    <a:pt x="1245" y="1250"/>
                  </a:cubicBezTo>
                  <a:cubicBezTo>
                    <a:pt x="1234" y="1250"/>
                    <a:pt x="1234" y="1250"/>
                    <a:pt x="1234" y="1250"/>
                  </a:cubicBezTo>
                  <a:cubicBezTo>
                    <a:pt x="1230" y="1263"/>
                    <a:pt x="1230" y="1263"/>
                    <a:pt x="1230" y="1263"/>
                  </a:cubicBezTo>
                  <a:cubicBezTo>
                    <a:pt x="1224" y="1273"/>
                    <a:pt x="1224" y="1273"/>
                    <a:pt x="1224" y="1273"/>
                  </a:cubicBezTo>
                  <a:cubicBezTo>
                    <a:pt x="1209" y="1274"/>
                    <a:pt x="1209" y="1274"/>
                    <a:pt x="1209" y="1274"/>
                  </a:cubicBezTo>
                  <a:cubicBezTo>
                    <a:pt x="1193" y="1258"/>
                    <a:pt x="1193" y="1258"/>
                    <a:pt x="1193" y="1258"/>
                  </a:cubicBezTo>
                  <a:cubicBezTo>
                    <a:pt x="1192" y="1224"/>
                    <a:pt x="1192" y="1224"/>
                    <a:pt x="1192" y="1224"/>
                  </a:cubicBezTo>
                  <a:cubicBezTo>
                    <a:pt x="1194" y="1204"/>
                    <a:pt x="1194" y="1204"/>
                    <a:pt x="1194" y="1204"/>
                  </a:cubicBezTo>
                  <a:cubicBezTo>
                    <a:pt x="1194" y="1186"/>
                    <a:pt x="1194" y="1186"/>
                    <a:pt x="1194" y="1186"/>
                  </a:cubicBezTo>
                  <a:cubicBezTo>
                    <a:pt x="1196" y="1169"/>
                    <a:pt x="1196" y="1169"/>
                    <a:pt x="1196" y="1169"/>
                  </a:cubicBezTo>
                  <a:cubicBezTo>
                    <a:pt x="1196" y="1153"/>
                    <a:pt x="1196" y="1153"/>
                    <a:pt x="1196" y="1153"/>
                  </a:cubicBezTo>
                  <a:cubicBezTo>
                    <a:pt x="1184" y="1148"/>
                    <a:pt x="1184" y="1148"/>
                    <a:pt x="1184" y="1148"/>
                  </a:cubicBezTo>
                  <a:cubicBezTo>
                    <a:pt x="1176" y="1145"/>
                    <a:pt x="1176" y="1145"/>
                    <a:pt x="1176" y="1145"/>
                  </a:cubicBezTo>
                  <a:cubicBezTo>
                    <a:pt x="1175" y="1137"/>
                    <a:pt x="1175" y="1137"/>
                    <a:pt x="1175" y="1137"/>
                  </a:cubicBezTo>
                  <a:cubicBezTo>
                    <a:pt x="1171" y="1128"/>
                    <a:pt x="1171" y="1128"/>
                    <a:pt x="1171" y="1128"/>
                  </a:cubicBezTo>
                  <a:cubicBezTo>
                    <a:pt x="1163" y="1120"/>
                    <a:pt x="1163" y="1120"/>
                    <a:pt x="1163" y="1120"/>
                  </a:cubicBezTo>
                  <a:cubicBezTo>
                    <a:pt x="1163" y="1111"/>
                    <a:pt x="1163" y="1111"/>
                    <a:pt x="1163" y="1111"/>
                  </a:cubicBezTo>
                  <a:cubicBezTo>
                    <a:pt x="1169" y="1106"/>
                    <a:pt x="1169" y="1106"/>
                    <a:pt x="1169" y="1106"/>
                  </a:cubicBezTo>
                  <a:cubicBezTo>
                    <a:pt x="1170" y="1094"/>
                    <a:pt x="1170" y="1094"/>
                    <a:pt x="1170" y="1094"/>
                  </a:cubicBezTo>
                  <a:cubicBezTo>
                    <a:pt x="1163" y="1087"/>
                    <a:pt x="1163" y="1087"/>
                    <a:pt x="1163" y="1087"/>
                  </a:cubicBezTo>
                  <a:cubicBezTo>
                    <a:pt x="1153" y="1087"/>
                    <a:pt x="1153" y="1087"/>
                    <a:pt x="1153" y="1087"/>
                  </a:cubicBezTo>
                  <a:cubicBezTo>
                    <a:pt x="1143" y="1082"/>
                    <a:pt x="1143" y="1082"/>
                    <a:pt x="1143" y="1082"/>
                  </a:cubicBezTo>
                  <a:cubicBezTo>
                    <a:pt x="1143" y="1072"/>
                    <a:pt x="1143" y="1072"/>
                    <a:pt x="1143" y="1072"/>
                  </a:cubicBezTo>
                  <a:cubicBezTo>
                    <a:pt x="1147" y="1068"/>
                    <a:pt x="1147" y="1068"/>
                    <a:pt x="1147" y="1068"/>
                  </a:cubicBezTo>
                  <a:cubicBezTo>
                    <a:pt x="1142" y="1063"/>
                    <a:pt x="1142" y="1063"/>
                    <a:pt x="1142" y="1063"/>
                  </a:cubicBezTo>
                  <a:cubicBezTo>
                    <a:pt x="1139" y="1049"/>
                    <a:pt x="1139" y="1049"/>
                    <a:pt x="1139" y="1049"/>
                  </a:cubicBezTo>
                  <a:cubicBezTo>
                    <a:pt x="1130" y="1034"/>
                    <a:pt x="1130" y="1034"/>
                    <a:pt x="1130" y="1034"/>
                  </a:cubicBezTo>
                  <a:cubicBezTo>
                    <a:pt x="1120" y="1027"/>
                    <a:pt x="1120" y="1027"/>
                    <a:pt x="1120" y="1027"/>
                  </a:cubicBezTo>
                  <a:cubicBezTo>
                    <a:pt x="1109" y="1030"/>
                    <a:pt x="1109" y="1030"/>
                    <a:pt x="1109" y="1030"/>
                  </a:cubicBezTo>
                  <a:cubicBezTo>
                    <a:pt x="1098" y="1031"/>
                    <a:pt x="1098" y="1031"/>
                    <a:pt x="1098" y="1031"/>
                  </a:cubicBezTo>
                  <a:cubicBezTo>
                    <a:pt x="1098" y="1018"/>
                    <a:pt x="1098" y="1018"/>
                    <a:pt x="1098" y="1018"/>
                  </a:cubicBezTo>
                  <a:cubicBezTo>
                    <a:pt x="1107" y="1015"/>
                    <a:pt x="1107" y="1015"/>
                    <a:pt x="1107" y="1015"/>
                  </a:cubicBezTo>
                  <a:cubicBezTo>
                    <a:pt x="1107" y="1007"/>
                    <a:pt x="1107" y="1007"/>
                    <a:pt x="1107" y="1007"/>
                  </a:cubicBezTo>
                  <a:cubicBezTo>
                    <a:pt x="1098" y="998"/>
                    <a:pt x="1098" y="998"/>
                    <a:pt x="1098" y="998"/>
                  </a:cubicBezTo>
                  <a:close/>
                  <a:moveTo>
                    <a:pt x="874" y="229"/>
                  </a:moveTo>
                  <a:cubicBezTo>
                    <a:pt x="871" y="232"/>
                    <a:pt x="871" y="232"/>
                    <a:pt x="871" y="232"/>
                  </a:cubicBezTo>
                  <a:cubicBezTo>
                    <a:pt x="877" y="236"/>
                    <a:pt x="877" y="236"/>
                    <a:pt x="877" y="236"/>
                  </a:cubicBezTo>
                  <a:cubicBezTo>
                    <a:pt x="879" y="232"/>
                    <a:pt x="879" y="232"/>
                    <a:pt x="879" y="232"/>
                  </a:cubicBezTo>
                  <a:lnTo>
                    <a:pt x="874" y="229"/>
                  </a:lnTo>
                  <a:close/>
                  <a:moveTo>
                    <a:pt x="848" y="175"/>
                  </a:moveTo>
                  <a:cubicBezTo>
                    <a:pt x="842" y="178"/>
                    <a:pt x="842" y="178"/>
                    <a:pt x="842" y="178"/>
                  </a:cubicBezTo>
                  <a:cubicBezTo>
                    <a:pt x="850" y="183"/>
                    <a:pt x="850" y="183"/>
                    <a:pt x="850" y="183"/>
                  </a:cubicBezTo>
                  <a:cubicBezTo>
                    <a:pt x="856" y="187"/>
                    <a:pt x="856" y="187"/>
                    <a:pt x="856" y="187"/>
                  </a:cubicBezTo>
                  <a:cubicBezTo>
                    <a:pt x="863" y="185"/>
                    <a:pt x="863" y="185"/>
                    <a:pt x="863" y="185"/>
                  </a:cubicBezTo>
                  <a:cubicBezTo>
                    <a:pt x="861" y="177"/>
                    <a:pt x="861" y="177"/>
                    <a:pt x="861" y="177"/>
                  </a:cubicBezTo>
                  <a:cubicBezTo>
                    <a:pt x="854" y="179"/>
                    <a:pt x="854" y="179"/>
                    <a:pt x="854" y="179"/>
                  </a:cubicBezTo>
                  <a:lnTo>
                    <a:pt x="848" y="175"/>
                  </a:lnTo>
                  <a:close/>
                  <a:moveTo>
                    <a:pt x="788" y="145"/>
                  </a:moveTo>
                  <a:cubicBezTo>
                    <a:pt x="788" y="137"/>
                    <a:pt x="788" y="137"/>
                    <a:pt x="788" y="137"/>
                  </a:cubicBezTo>
                  <a:cubicBezTo>
                    <a:pt x="789" y="121"/>
                    <a:pt x="789" y="121"/>
                    <a:pt x="789" y="121"/>
                  </a:cubicBezTo>
                  <a:cubicBezTo>
                    <a:pt x="785" y="113"/>
                    <a:pt x="785" y="113"/>
                    <a:pt x="785" y="113"/>
                  </a:cubicBezTo>
                  <a:cubicBezTo>
                    <a:pt x="779" y="114"/>
                    <a:pt x="779" y="114"/>
                    <a:pt x="779" y="114"/>
                  </a:cubicBezTo>
                  <a:cubicBezTo>
                    <a:pt x="770" y="124"/>
                    <a:pt x="770" y="124"/>
                    <a:pt x="770" y="124"/>
                  </a:cubicBezTo>
                  <a:cubicBezTo>
                    <a:pt x="771" y="133"/>
                    <a:pt x="771" y="133"/>
                    <a:pt x="771" y="133"/>
                  </a:cubicBezTo>
                  <a:cubicBezTo>
                    <a:pt x="767" y="139"/>
                    <a:pt x="767" y="139"/>
                    <a:pt x="767" y="139"/>
                  </a:cubicBezTo>
                  <a:cubicBezTo>
                    <a:pt x="770" y="155"/>
                    <a:pt x="770" y="155"/>
                    <a:pt x="770" y="155"/>
                  </a:cubicBezTo>
                  <a:cubicBezTo>
                    <a:pt x="762" y="163"/>
                    <a:pt x="762" y="163"/>
                    <a:pt x="762" y="163"/>
                  </a:cubicBezTo>
                  <a:cubicBezTo>
                    <a:pt x="763" y="179"/>
                    <a:pt x="763" y="179"/>
                    <a:pt x="763" y="179"/>
                  </a:cubicBezTo>
                  <a:cubicBezTo>
                    <a:pt x="759" y="193"/>
                    <a:pt x="759" y="193"/>
                    <a:pt x="759" y="193"/>
                  </a:cubicBezTo>
                  <a:cubicBezTo>
                    <a:pt x="756" y="207"/>
                    <a:pt x="756" y="207"/>
                    <a:pt x="756" y="207"/>
                  </a:cubicBezTo>
                  <a:cubicBezTo>
                    <a:pt x="762" y="210"/>
                    <a:pt x="762" y="210"/>
                    <a:pt x="762" y="210"/>
                  </a:cubicBezTo>
                  <a:cubicBezTo>
                    <a:pt x="773" y="201"/>
                    <a:pt x="773" y="201"/>
                    <a:pt x="773" y="201"/>
                  </a:cubicBezTo>
                  <a:cubicBezTo>
                    <a:pt x="780" y="196"/>
                    <a:pt x="780" y="196"/>
                    <a:pt x="780" y="196"/>
                  </a:cubicBezTo>
                  <a:cubicBezTo>
                    <a:pt x="795" y="189"/>
                    <a:pt x="795" y="189"/>
                    <a:pt x="795" y="189"/>
                  </a:cubicBezTo>
                  <a:cubicBezTo>
                    <a:pt x="807" y="187"/>
                    <a:pt x="807" y="187"/>
                    <a:pt x="807" y="187"/>
                  </a:cubicBezTo>
                  <a:cubicBezTo>
                    <a:pt x="822" y="176"/>
                    <a:pt x="822" y="176"/>
                    <a:pt x="822" y="176"/>
                  </a:cubicBezTo>
                  <a:cubicBezTo>
                    <a:pt x="830" y="162"/>
                    <a:pt x="830" y="162"/>
                    <a:pt x="830" y="162"/>
                  </a:cubicBezTo>
                  <a:cubicBezTo>
                    <a:pt x="825" y="150"/>
                    <a:pt x="825" y="150"/>
                    <a:pt x="825" y="150"/>
                  </a:cubicBezTo>
                  <a:cubicBezTo>
                    <a:pt x="819" y="141"/>
                    <a:pt x="819" y="141"/>
                    <a:pt x="819" y="141"/>
                  </a:cubicBezTo>
                  <a:cubicBezTo>
                    <a:pt x="812" y="144"/>
                    <a:pt x="812" y="144"/>
                    <a:pt x="812" y="144"/>
                  </a:cubicBezTo>
                  <a:cubicBezTo>
                    <a:pt x="805" y="131"/>
                    <a:pt x="805" y="131"/>
                    <a:pt x="805" y="131"/>
                  </a:cubicBezTo>
                  <a:cubicBezTo>
                    <a:pt x="799" y="126"/>
                    <a:pt x="799" y="126"/>
                    <a:pt x="799" y="126"/>
                  </a:cubicBezTo>
                  <a:cubicBezTo>
                    <a:pt x="793" y="134"/>
                    <a:pt x="793" y="134"/>
                    <a:pt x="793" y="134"/>
                  </a:cubicBezTo>
                  <a:cubicBezTo>
                    <a:pt x="788" y="145"/>
                    <a:pt x="788" y="145"/>
                    <a:pt x="788" y="145"/>
                  </a:cubicBezTo>
                  <a:close/>
                  <a:moveTo>
                    <a:pt x="734" y="80"/>
                  </a:moveTo>
                  <a:cubicBezTo>
                    <a:pt x="728" y="87"/>
                    <a:pt x="728" y="87"/>
                    <a:pt x="728" y="87"/>
                  </a:cubicBezTo>
                  <a:cubicBezTo>
                    <a:pt x="724" y="96"/>
                    <a:pt x="724" y="96"/>
                    <a:pt x="724" y="96"/>
                  </a:cubicBezTo>
                  <a:cubicBezTo>
                    <a:pt x="719" y="94"/>
                    <a:pt x="719" y="94"/>
                    <a:pt x="719" y="94"/>
                  </a:cubicBezTo>
                  <a:cubicBezTo>
                    <a:pt x="722" y="83"/>
                    <a:pt x="722" y="83"/>
                    <a:pt x="722" y="83"/>
                  </a:cubicBezTo>
                  <a:cubicBezTo>
                    <a:pt x="722" y="71"/>
                    <a:pt x="722" y="71"/>
                    <a:pt x="722" y="71"/>
                  </a:cubicBezTo>
                  <a:cubicBezTo>
                    <a:pt x="709" y="75"/>
                    <a:pt x="709" y="75"/>
                    <a:pt x="709" y="75"/>
                  </a:cubicBezTo>
                  <a:cubicBezTo>
                    <a:pt x="709" y="75"/>
                    <a:pt x="701" y="77"/>
                    <a:pt x="699" y="77"/>
                  </a:cubicBezTo>
                  <a:cubicBezTo>
                    <a:pt x="698" y="78"/>
                    <a:pt x="689" y="81"/>
                    <a:pt x="689" y="81"/>
                  </a:cubicBezTo>
                  <a:cubicBezTo>
                    <a:pt x="684" y="90"/>
                    <a:pt x="684" y="90"/>
                    <a:pt x="684" y="90"/>
                  </a:cubicBezTo>
                  <a:cubicBezTo>
                    <a:pt x="682" y="98"/>
                    <a:pt x="682" y="98"/>
                    <a:pt x="682" y="98"/>
                  </a:cubicBezTo>
                  <a:cubicBezTo>
                    <a:pt x="676" y="105"/>
                    <a:pt x="676" y="105"/>
                    <a:pt x="676" y="105"/>
                  </a:cubicBezTo>
                  <a:cubicBezTo>
                    <a:pt x="678" y="112"/>
                    <a:pt x="678" y="112"/>
                    <a:pt x="678" y="112"/>
                  </a:cubicBezTo>
                  <a:cubicBezTo>
                    <a:pt x="668" y="120"/>
                    <a:pt x="668" y="120"/>
                    <a:pt x="668" y="120"/>
                  </a:cubicBezTo>
                  <a:cubicBezTo>
                    <a:pt x="673" y="124"/>
                    <a:pt x="673" y="124"/>
                    <a:pt x="673" y="124"/>
                  </a:cubicBezTo>
                  <a:cubicBezTo>
                    <a:pt x="680" y="122"/>
                    <a:pt x="680" y="122"/>
                    <a:pt x="680" y="122"/>
                  </a:cubicBezTo>
                  <a:cubicBezTo>
                    <a:pt x="686" y="131"/>
                    <a:pt x="686" y="131"/>
                    <a:pt x="686" y="131"/>
                  </a:cubicBezTo>
                  <a:cubicBezTo>
                    <a:pt x="687" y="138"/>
                    <a:pt x="687" y="138"/>
                    <a:pt x="687" y="138"/>
                  </a:cubicBezTo>
                  <a:cubicBezTo>
                    <a:pt x="692" y="145"/>
                    <a:pt x="692" y="145"/>
                    <a:pt x="692" y="145"/>
                  </a:cubicBezTo>
                  <a:cubicBezTo>
                    <a:pt x="706" y="146"/>
                    <a:pt x="706" y="146"/>
                    <a:pt x="706" y="146"/>
                  </a:cubicBezTo>
                  <a:cubicBezTo>
                    <a:pt x="708" y="154"/>
                    <a:pt x="708" y="154"/>
                    <a:pt x="708" y="154"/>
                  </a:cubicBezTo>
                  <a:cubicBezTo>
                    <a:pt x="718" y="148"/>
                    <a:pt x="718" y="148"/>
                    <a:pt x="718" y="148"/>
                  </a:cubicBezTo>
                  <a:cubicBezTo>
                    <a:pt x="722" y="156"/>
                    <a:pt x="722" y="156"/>
                    <a:pt x="722" y="156"/>
                  </a:cubicBezTo>
                  <a:cubicBezTo>
                    <a:pt x="736" y="161"/>
                    <a:pt x="736" y="161"/>
                    <a:pt x="736" y="161"/>
                  </a:cubicBezTo>
                  <a:cubicBezTo>
                    <a:pt x="748" y="155"/>
                    <a:pt x="748" y="155"/>
                    <a:pt x="748" y="155"/>
                  </a:cubicBezTo>
                  <a:cubicBezTo>
                    <a:pt x="754" y="146"/>
                    <a:pt x="754" y="146"/>
                    <a:pt x="754" y="146"/>
                  </a:cubicBezTo>
                  <a:cubicBezTo>
                    <a:pt x="750" y="137"/>
                    <a:pt x="750" y="137"/>
                    <a:pt x="750" y="137"/>
                  </a:cubicBezTo>
                  <a:cubicBezTo>
                    <a:pt x="742" y="126"/>
                    <a:pt x="742" y="126"/>
                    <a:pt x="742" y="126"/>
                  </a:cubicBezTo>
                  <a:cubicBezTo>
                    <a:pt x="748" y="121"/>
                    <a:pt x="748" y="121"/>
                    <a:pt x="748" y="121"/>
                  </a:cubicBezTo>
                  <a:cubicBezTo>
                    <a:pt x="750" y="111"/>
                    <a:pt x="750" y="111"/>
                    <a:pt x="750" y="111"/>
                  </a:cubicBezTo>
                  <a:cubicBezTo>
                    <a:pt x="747" y="100"/>
                    <a:pt x="747" y="100"/>
                    <a:pt x="747" y="100"/>
                  </a:cubicBezTo>
                  <a:cubicBezTo>
                    <a:pt x="748" y="88"/>
                    <a:pt x="748" y="88"/>
                    <a:pt x="748" y="88"/>
                  </a:cubicBezTo>
                  <a:cubicBezTo>
                    <a:pt x="734" y="80"/>
                    <a:pt x="734" y="80"/>
                    <a:pt x="734" y="80"/>
                  </a:cubicBezTo>
                  <a:close/>
                  <a:moveTo>
                    <a:pt x="723" y="265"/>
                  </a:moveTo>
                  <a:cubicBezTo>
                    <a:pt x="717" y="273"/>
                    <a:pt x="717" y="273"/>
                    <a:pt x="717" y="273"/>
                  </a:cubicBezTo>
                  <a:cubicBezTo>
                    <a:pt x="709" y="275"/>
                    <a:pt x="709" y="275"/>
                    <a:pt x="709" y="275"/>
                  </a:cubicBezTo>
                  <a:cubicBezTo>
                    <a:pt x="716" y="280"/>
                    <a:pt x="716" y="280"/>
                    <a:pt x="716" y="280"/>
                  </a:cubicBezTo>
                  <a:cubicBezTo>
                    <a:pt x="724" y="273"/>
                    <a:pt x="724" y="273"/>
                    <a:pt x="724" y="273"/>
                  </a:cubicBezTo>
                  <a:cubicBezTo>
                    <a:pt x="723" y="265"/>
                    <a:pt x="723" y="265"/>
                    <a:pt x="723" y="265"/>
                  </a:cubicBezTo>
                  <a:close/>
                  <a:moveTo>
                    <a:pt x="622" y="263"/>
                  </a:moveTo>
                  <a:cubicBezTo>
                    <a:pt x="619" y="268"/>
                    <a:pt x="619" y="268"/>
                    <a:pt x="619" y="268"/>
                  </a:cubicBezTo>
                  <a:cubicBezTo>
                    <a:pt x="623" y="271"/>
                    <a:pt x="623" y="271"/>
                    <a:pt x="623" y="271"/>
                  </a:cubicBezTo>
                  <a:cubicBezTo>
                    <a:pt x="629" y="264"/>
                    <a:pt x="629" y="264"/>
                    <a:pt x="629" y="264"/>
                  </a:cubicBezTo>
                  <a:cubicBezTo>
                    <a:pt x="622" y="263"/>
                    <a:pt x="622" y="263"/>
                    <a:pt x="622" y="263"/>
                  </a:cubicBezTo>
                  <a:close/>
                  <a:moveTo>
                    <a:pt x="560" y="429"/>
                  </a:moveTo>
                  <a:cubicBezTo>
                    <a:pt x="552" y="432"/>
                    <a:pt x="552" y="432"/>
                    <a:pt x="552" y="432"/>
                  </a:cubicBezTo>
                  <a:cubicBezTo>
                    <a:pt x="552" y="432"/>
                    <a:pt x="555" y="441"/>
                    <a:pt x="555" y="440"/>
                  </a:cubicBezTo>
                  <a:cubicBezTo>
                    <a:pt x="555" y="439"/>
                    <a:pt x="561" y="438"/>
                    <a:pt x="561" y="438"/>
                  </a:cubicBezTo>
                  <a:cubicBezTo>
                    <a:pt x="560" y="429"/>
                    <a:pt x="560" y="429"/>
                    <a:pt x="560" y="429"/>
                  </a:cubicBezTo>
                  <a:close/>
                  <a:moveTo>
                    <a:pt x="508" y="374"/>
                  </a:moveTo>
                  <a:cubicBezTo>
                    <a:pt x="501" y="380"/>
                    <a:pt x="501" y="380"/>
                    <a:pt x="501" y="380"/>
                  </a:cubicBezTo>
                  <a:cubicBezTo>
                    <a:pt x="505" y="387"/>
                    <a:pt x="505" y="387"/>
                    <a:pt x="505" y="387"/>
                  </a:cubicBezTo>
                  <a:cubicBezTo>
                    <a:pt x="511" y="386"/>
                    <a:pt x="511" y="386"/>
                    <a:pt x="511" y="386"/>
                  </a:cubicBezTo>
                  <a:lnTo>
                    <a:pt x="508" y="374"/>
                  </a:lnTo>
                  <a:close/>
                  <a:moveTo>
                    <a:pt x="505" y="454"/>
                  </a:moveTo>
                  <a:cubicBezTo>
                    <a:pt x="504" y="460"/>
                    <a:pt x="504" y="460"/>
                    <a:pt x="504" y="460"/>
                  </a:cubicBezTo>
                  <a:cubicBezTo>
                    <a:pt x="514" y="460"/>
                    <a:pt x="514" y="460"/>
                    <a:pt x="514" y="460"/>
                  </a:cubicBezTo>
                  <a:cubicBezTo>
                    <a:pt x="520" y="466"/>
                    <a:pt x="520" y="466"/>
                    <a:pt x="520" y="466"/>
                  </a:cubicBezTo>
                  <a:cubicBezTo>
                    <a:pt x="520" y="457"/>
                    <a:pt x="520" y="457"/>
                    <a:pt x="520" y="457"/>
                  </a:cubicBezTo>
                  <a:cubicBezTo>
                    <a:pt x="514" y="455"/>
                    <a:pt x="514" y="455"/>
                    <a:pt x="514" y="455"/>
                  </a:cubicBezTo>
                  <a:cubicBezTo>
                    <a:pt x="505" y="454"/>
                    <a:pt x="505" y="454"/>
                    <a:pt x="505" y="454"/>
                  </a:cubicBezTo>
                  <a:close/>
                  <a:moveTo>
                    <a:pt x="470" y="95"/>
                  </a:moveTo>
                  <a:cubicBezTo>
                    <a:pt x="467" y="98"/>
                    <a:pt x="467" y="98"/>
                    <a:pt x="467" y="98"/>
                  </a:cubicBezTo>
                  <a:cubicBezTo>
                    <a:pt x="471" y="101"/>
                    <a:pt x="471" y="101"/>
                    <a:pt x="471" y="101"/>
                  </a:cubicBezTo>
                  <a:cubicBezTo>
                    <a:pt x="477" y="106"/>
                    <a:pt x="477" y="106"/>
                    <a:pt x="477" y="106"/>
                  </a:cubicBezTo>
                  <a:cubicBezTo>
                    <a:pt x="479" y="100"/>
                    <a:pt x="479" y="100"/>
                    <a:pt x="479" y="100"/>
                  </a:cubicBezTo>
                  <a:lnTo>
                    <a:pt x="470" y="95"/>
                  </a:lnTo>
                  <a:close/>
                  <a:moveTo>
                    <a:pt x="433" y="517"/>
                  </a:moveTo>
                  <a:cubicBezTo>
                    <a:pt x="429" y="522"/>
                    <a:pt x="429" y="522"/>
                    <a:pt x="429" y="522"/>
                  </a:cubicBezTo>
                  <a:cubicBezTo>
                    <a:pt x="431" y="529"/>
                    <a:pt x="431" y="529"/>
                    <a:pt x="431" y="529"/>
                  </a:cubicBezTo>
                  <a:cubicBezTo>
                    <a:pt x="436" y="535"/>
                    <a:pt x="436" y="535"/>
                    <a:pt x="436" y="535"/>
                  </a:cubicBezTo>
                  <a:cubicBezTo>
                    <a:pt x="442" y="528"/>
                    <a:pt x="442" y="528"/>
                    <a:pt x="442" y="528"/>
                  </a:cubicBezTo>
                  <a:cubicBezTo>
                    <a:pt x="444" y="520"/>
                    <a:pt x="444" y="520"/>
                    <a:pt x="444" y="520"/>
                  </a:cubicBezTo>
                  <a:cubicBezTo>
                    <a:pt x="439" y="515"/>
                    <a:pt x="439" y="515"/>
                    <a:pt x="439" y="515"/>
                  </a:cubicBezTo>
                  <a:cubicBezTo>
                    <a:pt x="433" y="517"/>
                    <a:pt x="433" y="517"/>
                    <a:pt x="433" y="517"/>
                  </a:cubicBezTo>
                  <a:close/>
                  <a:moveTo>
                    <a:pt x="521" y="17"/>
                  </a:moveTo>
                  <a:cubicBezTo>
                    <a:pt x="516" y="18"/>
                    <a:pt x="516" y="18"/>
                    <a:pt x="516" y="18"/>
                  </a:cubicBezTo>
                  <a:cubicBezTo>
                    <a:pt x="513" y="21"/>
                    <a:pt x="513" y="21"/>
                    <a:pt x="513" y="21"/>
                  </a:cubicBezTo>
                  <a:cubicBezTo>
                    <a:pt x="518" y="26"/>
                    <a:pt x="518" y="26"/>
                    <a:pt x="518" y="26"/>
                  </a:cubicBezTo>
                  <a:cubicBezTo>
                    <a:pt x="525" y="24"/>
                    <a:pt x="525" y="24"/>
                    <a:pt x="525" y="24"/>
                  </a:cubicBezTo>
                  <a:cubicBezTo>
                    <a:pt x="529" y="20"/>
                    <a:pt x="529" y="20"/>
                    <a:pt x="529" y="20"/>
                  </a:cubicBezTo>
                  <a:lnTo>
                    <a:pt x="521" y="17"/>
                  </a:lnTo>
                  <a:close/>
                  <a:moveTo>
                    <a:pt x="636" y="7"/>
                  </a:moveTo>
                  <a:cubicBezTo>
                    <a:pt x="631" y="11"/>
                    <a:pt x="631" y="11"/>
                    <a:pt x="631" y="11"/>
                  </a:cubicBezTo>
                  <a:cubicBezTo>
                    <a:pt x="635" y="15"/>
                    <a:pt x="635" y="15"/>
                    <a:pt x="635" y="15"/>
                  </a:cubicBezTo>
                  <a:cubicBezTo>
                    <a:pt x="638" y="18"/>
                    <a:pt x="638" y="18"/>
                    <a:pt x="638" y="18"/>
                  </a:cubicBezTo>
                  <a:cubicBezTo>
                    <a:pt x="646" y="11"/>
                    <a:pt x="646" y="11"/>
                    <a:pt x="646" y="11"/>
                  </a:cubicBezTo>
                  <a:cubicBezTo>
                    <a:pt x="646" y="6"/>
                    <a:pt x="646" y="6"/>
                    <a:pt x="646" y="6"/>
                  </a:cubicBezTo>
                  <a:lnTo>
                    <a:pt x="636" y="7"/>
                  </a:lnTo>
                  <a:close/>
                  <a:moveTo>
                    <a:pt x="684" y="0"/>
                  </a:moveTo>
                  <a:cubicBezTo>
                    <a:pt x="682" y="10"/>
                    <a:pt x="682" y="10"/>
                    <a:pt x="682" y="10"/>
                  </a:cubicBezTo>
                  <a:cubicBezTo>
                    <a:pt x="673" y="14"/>
                    <a:pt x="673" y="14"/>
                    <a:pt x="673" y="14"/>
                  </a:cubicBezTo>
                  <a:cubicBezTo>
                    <a:pt x="660" y="23"/>
                    <a:pt x="660" y="23"/>
                    <a:pt x="660" y="23"/>
                  </a:cubicBezTo>
                  <a:cubicBezTo>
                    <a:pt x="660" y="36"/>
                    <a:pt x="660" y="36"/>
                    <a:pt x="660" y="36"/>
                  </a:cubicBezTo>
                  <a:cubicBezTo>
                    <a:pt x="665" y="41"/>
                    <a:pt x="665" y="41"/>
                    <a:pt x="665" y="41"/>
                  </a:cubicBezTo>
                  <a:cubicBezTo>
                    <a:pt x="658" y="48"/>
                    <a:pt x="658" y="48"/>
                    <a:pt x="658" y="48"/>
                  </a:cubicBezTo>
                  <a:cubicBezTo>
                    <a:pt x="653" y="58"/>
                    <a:pt x="653" y="58"/>
                    <a:pt x="653" y="58"/>
                  </a:cubicBezTo>
                  <a:cubicBezTo>
                    <a:pt x="660" y="67"/>
                    <a:pt x="660" y="67"/>
                    <a:pt x="660" y="67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74" y="86"/>
                    <a:pt x="674" y="86"/>
                    <a:pt x="674" y="86"/>
                  </a:cubicBezTo>
                  <a:cubicBezTo>
                    <a:pt x="684" y="76"/>
                    <a:pt x="684" y="76"/>
                    <a:pt x="684" y="76"/>
                  </a:cubicBezTo>
                  <a:cubicBezTo>
                    <a:pt x="691" y="76"/>
                    <a:pt x="691" y="76"/>
                    <a:pt x="691" y="76"/>
                  </a:cubicBezTo>
                  <a:cubicBezTo>
                    <a:pt x="702" y="70"/>
                    <a:pt x="702" y="70"/>
                    <a:pt x="702" y="70"/>
                  </a:cubicBezTo>
                  <a:cubicBezTo>
                    <a:pt x="714" y="66"/>
                    <a:pt x="714" y="66"/>
                    <a:pt x="714" y="66"/>
                  </a:cubicBezTo>
                  <a:cubicBezTo>
                    <a:pt x="711" y="54"/>
                    <a:pt x="711" y="54"/>
                    <a:pt x="711" y="54"/>
                  </a:cubicBezTo>
                  <a:cubicBezTo>
                    <a:pt x="711" y="39"/>
                    <a:pt x="711" y="39"/>
                    <a:pt x="711" y="39"/>
                  </a:cubicBezTo>
                  <a:cubicBezTo>
                    <a:pt x="718" y="32"/>
                    <a:pt x="718" y="32"/>
                    <a:pt x="718" y="32"/>
                  </a:cubicBezTo>
                  <a:cubicBezTo>
                    <a:pt x="712" y="26"/>
                    <a:pt x="712" y="26"/>
                    <a:pt x="712" y="26"/>
                  </a:cubicBezTo>
                  <a:cubicBezTo>
                    <a:pt x="699" y="13"/>
                    <a:pt x="699" y="13"/>
                    <a:pt x="699" y="13"/>
                  </a:cubicBezTo>
                  <a:cubicBezTo>
                    <a:pt x="695" y="3"/>
                    <a:pt x="695" y="3"/>
                    <a:pt x="695" y="3"/>
                  </a:cubicBezTo>
                  <a:lnTo>
                    <a:pt x="684" y="0"/>
                  </a:lnTo>
                  <a:close/>
                  <a:moveTo>
                    <a:pt x="654" y="83"/>
                  </a:moveTo>
                  <a:cubicBezTo>
                    <a:pt x="646" y="82"/>
                    <a:pt x="646" y="82"/>
                    <a:pt x="646" y="82"/>
                  </a:cubicBezTo>
                  <a:cubicBezTo>
                    <a:pt x="647" y="93"/>
                    <a:pt x="647" y="93"/>
                    <a:pt x="647" y="93"/>
                  </a:cubicBezTo>
                  <a:cubicBezTo>
                    <a:pt x="647" y="100"/>
                    <a:pt x="647" y="100"/>
                    <a:pt x="647" y="100"/>
                  </a:cubicBezTo>
                  <a:cubicBezTo>
                    <a:pt x="658" y="103"/>
                    <a:pt x="658" y="103"/>
                    <a:pt x="658" y="103"/>
                  </a:cubicBezTo>
                  <a:cubicBezTo>
                    <a:pt x="663" y="108"/>
                    <a:pt x="663" y="108"/>
                    <a:pt x="663" y="108"/>
                  </a:cubicBezTo>
                  <a:cubicBezTo>
                    <a:pt x="669" y="101"/>
                    <a:pt x="669" y="101"/>
                    <a:pt x="669" y="101"/>
                  </a:cubicBezTo>
                  <a:cubicBezTo>
                    <a:pt x="673" y="91"/>
                    <a:pt x="673" y="91"/>
                    <a:pt x="673" y="91"/>
                  </a:cubicBezTo>
                  <a:cubicBezTo>
                    <a:pt x="667" y="86"/>
                    <a:pt x="667" y="86"/>
                    <a:pt x="667" y="86"/>
                  </a:cubicBezTo>
                  <a:lnTo>
                    <a:pt x="654" y="83"/>
                  </a:lnTo>
                  <a:close/>
                  <a:moveTo>
                    <a:pt x="521" y="339"/>
                  </a:moveTo>
                  <a:cubicBezTo>
                    <a:pt x="517" y="342"/>
                    <a:pt x="517" y="342"/>
                    <a:pt x="517" y="342"/>
                  </a:cubicBezTo>
                  <a:cubicBezTo>
                    <a:pt x="522" y="346"/>
                    <a:pt x="522" y="346"/>
                    <a:pt x="522" y="346"/>
                  </a:cubicBezTo>
                  <a:cubicBezTo>
                    <a:pt x="529" y="344"/>
                    <a:pt x="529" y="344"/>
                    <a:pt x="529" y="344"/>
                  </a:cubicBezTo>
                  <a:lnTo>
                    <a:pt x="521" y="339"/>
                  </a:lnTo>
                  <a:close/>
                </a:path>
              </a:pathLst>
            </a:custGeom>
            <a:solidFill>
              <a:srgbClr val="293D6D">
                <a:lumMod val="75000"/>
              </a:srgbClr>
            </a:solidFill>
            <a:ln w="7938" cap="flat">
              <a:solidFill>
                <a:sysClr val="window" lastClr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EAEED948-D9FD-F9CB-A9A0-014F08C05C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9" y="10"/>
              <a:ext cx="2428" cy="3084"/>
            </a:xfrm>
            <a:custGeom>
              <a:avLst/>
              <a:gdLst>
                <a:gd name="T0" fmla="*/ 438 w 1820"/>
                <a:gd name="T1" fmla="*/ 1664 h 2310"/>
                <a:gd name="T2" fmla="*/ 298 w 1820"/>
                <a:gd name="T3" fmla="*/ 1722 h 2310"/>
                <a:gd name="T4" fmla="*/ 199 w 1820"/>
                <a:gd name="T5" fmla="*/ 1585 h 2310"/>
                <a:gd name="T6" fmla="*/ 88 w 1820"/>
                <a:gd name="T7" fmla="*/ 1488 h 2310"/>
                <a:gd name="T8" fmla="*/ 21 w 1820"/>
                <a:gd name="T9" fmla="*/ 1350 h 2310"/>
                <a:gd name="T10" fmla="*/ 49 w 1820"/>
                <a:gd name="T11" fmla="*/ 1138 h 2310"/>
                <a:gd name="T12" fmla="*/ 15 w 1820"/>
                <a:gd name="T13" fmla="*/ 941 h 2310"/>
                <a:gd name="T14" fmla="*/ 146 w 1820"/>
                <a:gd name="T15" fmla="*/ 899 h 2310"/>
                <a:gd name="T16" fmla="*/ 274 w 1820"/>
                <a:gd name="T17" fmla="*/ 839 h 2310"/>
                <a:gd name="T18" fmla="*/ 377 w 1820"/>
                <a:gd name="T19" fmla="*/ 905 h 2310"/>
                <a:gd name="T20" fmla="*/ 526 w 1820"/>
                <a:gd name="T21" fmla="*/ 827 h 2310"/>
                <a:gd name="T22" fmla="*/ 539 w 1820"/>
                <a:gd name="T23" fmla="*/ 698 h 2310"/>
                <a:gd name="T24" fmla="*/ 661 w 1820"/>
                <a:gd name="T25" fmla="*/ 655 h 2310"/>
                <a:gd name="T26" fmla="*/ 919 w 1820"/>
                <a:gd name="T27" fmla="*/ 542 h 2310"/>
                <a:gd name="T28" fmla="*/ 1011 w 1820"/>
                <a:gd name="T29" fmla="*/ 410 h 2310"/>
                <a:gd name="T30" fmla="*/ 1048 w 1820"/>
                <a:gd name="T31" fmla="*/ 236 h 2310"/>
                <a:gd name="T32" fmla="*/ 1260 w 1820"/>
                <a:gd name="T33" fmla="*/ 96 h 2310"/>
                <a:gd name="T34" fmla="*/ 1348 w 1820"/>
                <a:gd name="T35" fmla="*/ 62 h 2310"/>
                <a:gd name="T36" fmla="*/ 1339 w 1820"/>
                <a:gd name="T37" fmla="*/ 159 h 2310"/>
                <a:gd name="T38" fmla="*/ 1305 w 1820"/>
                <a:gd name="T39" fmla="*/ 250 h 2310"/>
                <a:gd name="T40" fmla="*/ 1369 w 1820"/>
                <a:gd name="T41" fmla="*/ 312 h 2310"/>
                <a:gd name="T42" fmla="*/ 1449 w 1820"/>
                <a:gd name="T43" fmla="*/ 401 h 2310"/>
                <a:gd name="T44" fmla="*/ 1463 w 1820"/>
                <a:gd name="T45" fmla="*/ 703 h 2310"/>
                <a:gd name="T46" fmla="*/ 1518 w 1820"/>
                <a:gd name="T47" fmla="*/ 874 h 2310"/>
                <a:gd name="T48" fmla="*/ 1672 w 1820"/>
                <a:gd name="T49" fmla="*/ 984 h 2310"/>
                <a:gd name="T50" fmla="*/ 1741 w 1820"/>
                <a:gd name="T51" fmla="*/ 1246 h 2310"/>
                <a:gd name="T52" fmla="*/ 1448 w 1820"/>
                <a:gd name="T53" fmla="*/ 1051 h 2310"/>
                <a:gd name="T54" fmla="*/ 1376 w 1820"/>
                <a:gd name="T55" fmla="*/ 771 h 2310"/>
                <a:gd name="T56" fmla="*/ 1335 w 1820"/>
                <a:gd name="T57" fmla="*/ 736 h 2310"/>
                <a:gd name="T58" fmla="*/ 1251 w 1820"/>
                <a:gd name="T59" fmla="*/ 854 h 2310"/>
                <a:gd name="T60" fmla="*/ 1294 w 1820"/>
                <a:gd name="T61" fmla="*/ 1073 h 2310"/>
                <a:gd name="T62" fmla="*/ 1193 w 1820"/>
                <a:gd name="T63" fmla="*/ 1157 h 2310"/>
                <a:gd name="T64" fmla="*/ 1074 w 1820"/>
                <a:gd name="T65" fmla="*/ 1379 h 2310"/>
                <a:gd name="T66" fmla="*/ 1110 w 1820"/>
                <a:gd name="T67" fmla="*/ 1601 h 2310"/>
                <a:gd name="T68" fmla="*/ 1185 w 1820"/>
                <a:gd name="T69" fmla="*/ 1610 h 2310"/>
                <a:gd name="T70" fmla="*/ 1297 w 1820"/>
                <a:gd name="T71" fmla="*/ 1593 h 2310"/>
                <a:gd name="T72" fmla="*/ 1442 w 1820"/>
                <a:gd name="T73" fmla="*/ 1915 h 2310"/>
                <a:gd name="T74" fmla="*/ 1364 w 1820"/>
                <a:gd name="T75" fmla="*/ 2230 h 2310"/>
                <a:gd name="T76" fmla="*/ 1296 w 1820"/>
                <a:gd name="T77" fmla="*/ 2207 h 2310"/>
                <a:gd name="T78" fmla="*/ 1289 w 1820"/>
                <a:gd name="T79" fmla="*/ 1990 h 2310"/>
                <a:gd name="T80" fmla="*/ 1152 w 1820"/>
                <a:gd name="T81" fmla="*/ 2020 h 2310"/>
                <a:gd name="T82" fmla="*/ 892 w 1820"/>
                <a:gd name="T83" fmla="*/ 1918 h 2310"/>
                <a:gd name="T84" fmla="*/ 685 w 1820"/>
                <a:gd name="T85" fmla="*/ 1857 h 2310"/>
                <a:gd name="T86" fmla="*/ 575 w 1820"/>
                <a:gd name="T87" fmla="*/ 1774 h 2310"/>
                <a:gd name="T88" fmla="*/ 1444 w 1820"/>
                <a:gd name="T89" fmla="*/ 1612 h 2310"/>
                <a:gd name="T90" fmla="*/ 1556 w 1820"/>
                <a:gd name="T91" fmla="*/ 1778 h 2310"/>
                <a:gd name="T92" fmla="*/ 1532 w 1820"/>
                <a:gd name="T93" fmla="*/ 1803 h 2310"/>
                <a:gd name="T94" fmla="*/ 1283 w 1820"/>
                <a:gd name="T95" fmla="*/ 1550 h 2310"/>
                <a:gd name="T96" fmla="*/ 1811 w 1820"/>
                <a:gd name="T97" fmla="*/ 1807 h 2310"/>
                <a:gd name="T98" fmla="*/ 1803 w 1820"/>
                <a:gd name="T99" fmla="*/ 1624 h 2310"/>
                <a:gd name="T100" fmla="*/ 1486 w 1820"/>
                <a:gd name="T101" fmla="*/ 810 h 2310"/>
                <a:gd name="T102" fmla="*/ 1731 w 1820"/>
                <a:gd name="T103" fmla="*/ 1276 h 2310"/>
                <a:gd name="T104" fmla="*/ 1746 w 1820"/>
                <a:gd name="T105" fmla="*/ 815 h 2310"/>
                <a:gd name="T106" fmla="*/ 994 w 1820"/>
                <a:gd name="T107" fmla="*/ 118 h 2310"/>
                <a:gd name="T108" fmla="*/ 500 w 1820"/>
                <a:gd name="T109" fmla="*/ 510 h 2310"/>
                <a:gd name="T110" fmla="*/ 374 w 1820"/>
                <a:gd name="T111" fmla="*/ 566 h 2310"/>
                <a:gd name="T112" fmla="*/ 377 w 1820"/>
                <a:gd name="T113" fmla="*/ 646 h 2310"/>
                <a:gd name="T114" fmla="*/ 413 w 1820"/>
                <a:gd name="T115" fmla="*/ 573 h 2310"/>
                <a:gd name="T116" fmla="*/ 461 w 1820"/>
                <a:gd name="T117" fmla="*/ 668 h 2310"/>
                <a:gd name="T118" fmla="*/ 335 w 1820"/>
                <a:gd name="T119" fmla="*/ 642 h 2310"/>
                <a:gd name="T120" fmla="*/ 382 w 1820"/>
                <a:gd name="T121" fmla="*/ 713 h 2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0" h="2310">
                  <a:moveTo>
                    <a:pt x="575" y="1774"/>
                  </a:moveTo>
                  <a:cubicBezTo>
                    <a:pt x="564" y="1771"/>
                    <a:pt x="564" y="1771"/>
                    <a:pt x="564" y="1771"/>
                  </a:cubicBezTo>
                  <a:cubicBezTo>
                    <a:pt x="564" y="1760"/>
                    <a:pt x="564" y="1760"/>
                    <a:pt x="564" y="1760"/>
                  </a:cubicBezTo>
                  <a:cubicBezTo>
                    <a:pt x="554" y="1756"/>
                    <a:pt x="554" y="1756"/>
                    <a:pt x="554" y="1756"/>
                  </a:cubicBezTo>
                  <a:cubicBezTo>
                    <a:pt x="543" y="1743"/>
                    <a:pt x="543" y="1743"/>
                    <a:pt x="543" y="1743"/>
                  </a:cubicBezTo>
                  <a:cubicBezTo>
                    <a:pt x="529" y="1737"/>
                    <a:pt x="529" y="1737"/>
                    <a:pt x="529" y="1737"/>
                  </a:cubicBezTo>
                  <a:cubicBezTo>
                    <a:pt x="526" y="1722"/>
                    <a:pt x="526" y="1722"/>
                    <a:pt x="526" y="1722"/>
                  </a:cubicBezTo>
                  <a:cubicBezTo>
                    <a:pt x="519" y="1715"/>
                    <a:pt x="519" y="1715"/>
                    <a:pt x="519" y="1715"/>
                  </a:cubicBezTo>
                  <a:cubicBezTo>
                    <a:pt x="521" y="1708"/>
                    <a:pt x="521" y="1708"/>
                    <a:pt x="521" y="1708"/>
                  </a:cubicBezTo>
                  <a:cubicBezTo>
                    <a:pt x="511" y="1698"/>
                    <a:pt x="511" y="1698"/>
                    <a:pt x="511" y="1698"/>
                  </a:cubicBezTo>
                  <a:cubicBezTo>
                    <a:pt x="502" y="1689"/>
                    <a:pt x="502" y="1689"/>
                    <a:pt x="502" y="1689"/>
                  </a:cubicBezTo>
                  <a:cubicBezTo>
                    <a:pt x="497" y="1674"/>
                    <a:pt x="497" y="1674"/>
                    <a:pt x="497" y="1674"/>
                  </a:cubicBezTo>
                  <a:cubicBezTo>
                    <a:pt x="488" y="1673"/>
                    <a:pt x="488" y="1673"/>
                    <a:pt x="488" y="1673"/>
                  </a:cubicBezTo>
                  <a:cubicBezTo>
                    <a:pt x="488" y="1663"/>
                    <a:pt x="488" y="1663"/>
                    <a:pt x="488" y="1663"/>
                  </a:cubicBezTo>
                  <a:cubicBezTo>
                    <a:pt x="479" y="1654"/>
                    <a:pt x="479" y="1654"/>
                    <a:pt x="479" y="1654"/>
                  </a:cubicBezTo>
                  <a:cubicBezTo>
                    <a:pt x="472" y="1646"/>
                    <a:pt x="472" y="1646"/>
                    <a:pt x="472" y="1646"/>
                  </a:cubicBezTo>
                  <a:cubicBezTo>
                    <a:pt x="461" y="1646"/>
                    <a:pt x="461" y="1646"/>
                    <a:pt x="461" y="1646"/>
                  </a:cubicBezTo>
                  <a:cubicBezTo>
                    <a:pt x="461" y="1657"/>
                    <a:pt x="461" y="1657"/>
                    <a:pt x="461" y="1657"/>
                  </a:cubicBezTo>
                  <a:cubicBezTo>
                    <a:pt x="452" y="1666"/>
                    <a:pt x="452" y="1666"/>
                    <a:pt x="452" y="1666"/>
                  </a:cubicBezTo>
                  <a:cubicBezTo>
                    <a:pt x="438" y="1664"/>
                    <a:pt x="438" y="1664"/>
                    <a:pt x="438" y="1664"/>
                  </a:cubicBezTo>
                  <a:cubicBezTo>
                    <a:pt x="438" y="1654"/>
                    <a:pt x="438" y="1654"/>
                    <a:pt x="438" y="1654"/>
                  </a:cubicBezTo>
                  <a:cubicBezTo>
                    <a:pt x="431" y="1649"/>
                    <a:pt x="431" y="1649"/>
                    <a:pt x="431" y="1649"/>
                  </a:cubicBezTo>
                  <a:cubicBezTo>
                    <a:pt x="431" y="1637"/>
                    <a:pt x="431" y="1637"/>
                    <a:pt x="431" y="1637"/>
                  </a:cubicBezTo>
                  <a:cubicBezTo>
                    <a:pt x="418" y="1635"/>
                    <a:pt x="418" y="1635"/>
                    <a:pt x="418" y="1635"/>
                  </a:cubicBezTo>
                  <a:cubicBezTo>
                    <a:pt x="403" y="1628"/>
                    <a:pt x="403" y="1628"/>
                    <a:pt x="403" y="1628"/>
                  </a:cubicBezTo>
                  <a:cubicBezTo>
                    <a:pt x="389" y="1630"/>
                    <a:pt x="389" y="1630"/>
                    <a:pt x="389" y="1630"/>
                  </a:cubicBezTo>
                  <a:cubicBezTo>
                    <a:pt x="375" y="1628"/>
                    <a:pt x="375" y="1628"/>
                    <a:pt x="375" y="1628"/>
                  </a:cubicBezTo>
                  <a:cubicBezTo>
                    <a:pt x="367" y="1637"/>
                    <a:pt x="367" y="1637"/>
                    <a:pt x="367" y="1637"/>
                  </a:cubicBezTo>
                  <a:cubicBezTo>
                    <a:pt x="363" y="1650"/>
                    <a:pt x="363" y="1650"/>
                    <a:pt x="363" y="1650"/>
                  </a:cubicBezTo>
                  <a:cubicBezTo>
                    <a:pt x="354" y="1660"/>
                    <a:pt x="354" y="1660"/>
                    <a:pt x="354" y="1660"/>
                  </a:cubicBezTo>
                  <a:cubicBezTo>
                    <a:pt x="358" y="1673"/>
                    <a:pt x="358" y="1673"/>
                    <a:pt x="358" y="1673"/>
                  </a:cubicBezTo>
                  <a:cubicBezTo>
                    <a:pt x="353" y="1688"/>
                    <a:pt x="353" y="1688"/>
                    <a:pt x="353" y="1688"/>
                  </a:cubicBezTo>
                  <a:cubicBezTo>
                    <a:pt x="340" y="1700"/>
                    <a:pt x="340" y="1700"/>
                    <a:pt x="340" y="1700"/>
                  </a:cubicBezTo>
                  <a:cubicBezTo>
                    <a:pt x="340" y="1723"/>
                    <a:pt x="340" y="1723"/>
                    <a:pt x="340" y="1723"/>
                  </a:cubicBezTo>
                  <a:cubicBezTo>
                    <a:pt x="323" y="1735"/>
                    <a:pt x="323" y="1735"/>
                    <a:pt x="323" y="1735"/>
                  </a:cubicBezTo>
                  <a:cubicBezTo>
                    <a:pt x="323" y="1749"/>
                    <a:pt x="323" y="1749"/>
                    <a:pt x="323" y="1749"/>
                  </a:cubicBezTo>
                  <a:cubicBezTo>
                    <a:pt x="315" y="1739"/>
                    <a:pt x="315" y="1739"/>
                    <a:pt x="315" y="1739"/>
                  </a:cubicBezTo>
                  <a:cubicBezTo>
                    <a:pt x="315" y="1727"/>
                    <a:pt x="315" y="1727"/>
                    <a:pt x="315" y="1727"/>
                  </a:cubicBezTo>
                  <a:cubicBezTo>
                    <a:pt x="306" y="1718"/>
                    <a:pt x="306" y="1718"/>
                    <a:pt x="306" y="1718"/>
                  </a:cubicBezTo>
                  <a:cubicBezTo>
                    <a:pt x="298" y="1722"/>
                    <a:pt x="298" y="1722"/>
                    <a:pt x="298" y="1722"/>
                  </a:cubicBezTo>
                  <a:cubicBezTo>
                    <a:pt x="296" y="1733"/>
                    <a:pt x="296" y="1733"/>
                    <a:pt x="296" y="1733"/>
                  </a:cubicBezTo>
                  <a:cubicBezTo>
                    <a:pt x="274" y="1741"/>
                    <a:pt x="274" y="1741"/>
                    <a:pt x="274" y="1741"/>
                  </a:cubicBezTo>
                  <a:cubicBezTo>
                    <a:pt x="263" y="1741"/>
                    <a:pt x="263" y="1741"/>
                    <a:pt x="263" y="1741"/>
                  </a:cubicBezTo>
                  <a:cubicBezTo>
                    <a:pt x="259" y="1754"/>
                    <a:pt x="259" y="1754"/>
                    <a:pt x="259" y="1754"/>
                  </a:cubicBezTo>
                  <a:cubicBezTo>
                    <a:pt x="253" y="1764"/>
                    <a:pt x="253" y="1764"/>
                    <a:pt x="253" y="1764"/>
                  </a:cubicBezTo>
                  <a:cubicBezTo>
                    <a:pt x="238" y="1765"/>
                    <a:pt x="238" y="1765"/>
                    <a:pt x="238" y="1765"/>
                  </a:cubicBezTo>
                  <a:cubicBezTo>
                    <a:pt x="222" y="1749"/>
                    <a:pt x="222" y="1749"/>
                    <a:pt x="222" y="1749"/>
                  </a:cubicBezTo>
                  <a:cubicBezTo>
                    <a:pt x="221" y="1716"/>
                    <a:pt x="221" y="1716"/>
                    <a:pt x="221" y="1716"/>
                  </a:cubicBezTo>
                  <a:cubicBezTo>
                    <a:pt x="223" y="1696"/>
                    <a:pt x="223" y="1696"/>
                    <a:pt x="223" y="1696"/>
                  </a:cubicBezTo>
                  <a:cubicBezTo>
                    <a:pt x="223" y="1677"/>
                    <a:pt x="223" y="1677"/>
                    <a:pt x="223" y="1677"/>
                  </a:cubicBezTo>
                  <a:cubicBezTo>
                    <a:pt x="225" y="1660"/>
                    <a:pt x="225" y="1660"/>
                    <a:pt x="225" y="1660"/>
                  </a:cubicBezTo>
                  <a:cubicBezTo>
                    <a:pt x="225" y="1644"/>
                    <a:pt x="225" y="1644"/>
                    <a:pt x="225" y="1644"/>
                  </a:cubicBezTo>
                  <a:cubicBezTo>
                    <a:pt x="213" y="1639"/>
                    <a:pt x="213" y="1639"/>
                    <a:pt x="213" y="1639"/>
                  </a:cubicBezTo>
                  <a:cubicBezTo>
                    <a:pt x="205" y="1636"/>
                    <a:pt x="205" y="1636"/>
                    <a:pt x="205" y="1636"/>
                  </a:cubicBezTo>
                  <a:cubicBezTo>
                    <a:pt x="204" y="1628"/>
                    <a:pt x="204" y="1628"/>
                    <a:pt x="204" y="1628"/>
                  </a:cubicBezTo>
                  <a:cubicBezTo>
                    <a:pt x="200" y="1619"/>
                    <a:pt x="200" y="1619"/>
                    <a:pt x="200" y="1619"/>
                  </a:cubicBezTo>
                  <a:cubicBezTo>
                    <a:pt x="192" y="1611"/>
                    <a:pt x="192" y="1611"/>
                    <a:pt x="192" y="1611"/>
                  </a:cubicBezTo>
                  <a:cubicBezTo>
                    <a:pt x="192" y="1602"/>
                    <a:pt x="192" y="1602"/>
                    <a:pt x="192" y="1602"/>
                  </a:cubicBezTo>
                  <a:cubicBezTo>
                    <a:pt x="198" y="1597"/>
                    <a:pt x="198" y="1597"/>
                    <a:pt x="198" y="1597"/>
                  </a:cubicBezTo>
                  <a:cubicBezTo>
                    <a:pt x="199" y="1585"/>
                    <a:pt x="199" y="1585"/>
                    <a:pt x="199" y="1585"/>
                  </a:cubicBezTo>
                  <a:cubicBezTo>
                    <a:pt x="192" y="1578"/>
                    <a:pt x="192" y="1578"/>
                    <a:pt x="192" y="1578"/>
                  </a:cubicBezTo>
                  <a:cubicBezTo>
                    <a:pt x="182" y="1578"/>
                    <a:pt x="182" y="1578"/>
                    <a:pt x="182" y="1578"/>
                  </a:cubicBezTo>
                  <a:cubicBezTo>
                    <a:pt x="172" y="1573"/>
                    <a:pt x="172" y="1573"/>
                    <a:pt x="172" y="1573"/>
                  </a:cubicBezTo>
                  <a:cubicBezTo>
                    <a:pt x="172" y="1563"/>
                    <a:pt x="172" y="1563"/>
                    <a:pt x="172" y="1563"/>
                  </a:cubicBezTo>
                  <a:cubicBezTo>
                    <a:pt x="176" y="1559"/>
                    <a:pt x="176" y="1559"/>
                    <a:pt x="176" y="1559"/>
                  </a:cubicBezTo>
                  <a:cubicBezTo>
                    <a:pt x="171" y="1554"/>
                    <a:pt x="171" y="1554"/>
                    <a:pt x="171" y="1554"/>
                  </a:cubicBezTo>
                  <a:cubicBezTo>
                    <a:pt x="168" y="1540"/>
                    <a:pt x="168" y="1540"/>
                    <a:pt x="168" y="1540"/>
                  </a:cubicBezTo>
                  <a:cubicBezTo>
                    <a:pt x="159" y="1525"/>
                    <a:pt x="159" y="1525"/>
                    <a:pt x="159" y="1525"/>
                  </a:cubicBezTo>
                  <a:cubicBezTo>
                    <a:pt x="149" y="1518"/>
                    <a:pt x="149" y="1518"/>
                    <a:pt x="149" y="1518"/>
                  </a:cubicBezTo>
                  <a:cubicBezTo>
                    <a:pt x="138" y="1521"/>
                    <a:pt x="138" y="1521"/>
                    <a:pt x="138" y="1521"/>
                  </a:cubicBezTo>
                  <a:cubicBezTo>
                    <a:pt x="127" y="1522"/>
                    <a:pt x="127" y="1522"/>
                    <a:pt x="127" y="1522"/>
                  </a:cubicBezTo>
                  <a:cubicBezTo>
                    <a:pt x="127" y="1509"/>
                    <a:pt x="127" y="1509"/>
                    <a:pt x="127" y="1509"/>
                  </a:cubicBezTo>
                  <a:cubicBezTo>
                    <a:pt x="136" y="1506"/>
                    <a:pt x="136" y="1506"/>
                    <a:pt x="136" y="1506"/>
                  </a:cubicBezTo>
                  <a:cubicBezTo>
                    <a:pt x="136" y="1498"/>
                    <a:pt x="136" y="1498"/>
                    <a:pt x="136" y="1498"/>
                  </a:cubicBezTo>
                  <a:cubicBezTo>
                    <a:pt x="127" y="1489"/>
                    <a:pt x="127" y="1489"/>
                    <a:pt x="127" y="1489"/>
                  </a:cubicBezTo>
                  <a:cubicBezTo>
                    <a:pt x="126" y="1481"/>
                    <a:pt x="126" y="1481"/>
                    <a:pt x="126" y="1481"/>
                  </a:cubicBezTo>
                  <a:cubicBezTo>
                    <a:pt x="117" y="1480"/>
                    <a:pt x="117" y="1480"/>
                    <a:pt x="117" y="1480"/>
                  </a:cubicBezTo>
                  <a:cubicBezTo>
                    <a:pt x="109" y="1487"/>
                    <a:pt x="109" y="1487"/>
                    <a:pt x="109" y="1487"/>
                  </a:cubicBezTo>
                  <a:cubicBezTo>
                    <a:pt x="100" y="1483"/>
                    <a:pt x="100" y="1483"/>
                    <a:pt x="100" y="1483"/>
                  </a:cubicBezTo>
                  <a:cubicBezTo>
                    <a:pt x="88" y="1488"/>
                    <a:pt x="88" y="1488"/>
                    <a:pt x="88" y="1488"/>
                  </a:cubicBezTo>
                  <a:cubicBezTo>
                    <a:pt x="82" y="1481"/>
                    <a:pt x="82" y="1481"/>
                    <a:pt x="82" y="1481"/>
                  </a:cubicBezTo>
                  <a:cubicBezTo>
                    <a:pt x="76" y="1481"/>
                    <a:pt x="76" y="1481"/>
                    <a:pt x="76" y="1481"/>
                  </a:cubicBezTo>
                  <a:cubicBezTo>
                    <a:pt x="71" y="1486"/>
                    <a:pt x="71" y="1486"/>
                    <a:pt x="71" y="1486"/>
                  </a:cubicBezTo>
                  <a:cubicBezTo>
                    <a:pt x="60" y="1486"/>
                    <a:pt x="60" y="1486"/>
                    <a:pt x="60" y="1486"/>
                  </a:cubicBezTo>
                  <a:cubicBezTo>
                    <a:pt x="53" y="1483"/>
                    <a:pt x="53" y="1483"/>
                    <a:pt x="53" y="1483"/>
                  </a:cubicBezTo>
                  <a:cubicBezTo>
                    <a:pt x="53" y="1469"/>
                    <a:pt x="53" y="1469"/>
                    <a:pt x="53" y="1469"/>
                  </a:cubicBezTo>
                  <a:cubicBezTo>
                    <a:pt x="57" y="1465"/>
                    <a:pt x="57" y="1465"/>
                    <a:pt x="57" y="1465"/>
                  </a:cubicBezTo>
                  <a:cubicBezTo>
                    <a:pt x="57" y="1457"/>
                    <a:pt x="57" y="1457"/>
                    <a:pt x="57" y="1457"/>
                  </a:cubicBezTo>
                  <a:cubicBezTo>
                    <a:pt x="54" y="1447"/>
                    <a:pt x="54" y="1447"/>
                    <a:pt x="54" y="1447"/>
                  </a:cubicBezTo>
                  <a:cubicBezTo>
                    <a:pt x="61" y="1434"/>
                    <a:pt x="61" y="1434"/>
                    <a:pt x="61" y="1434"/>
                  </a:cubicBezTo>
                  <a:cubicBezTo>
                    <a:pt x="66" y="1421"/>
                    <a:pt x="66" y="1421"/>
                    <a:pt x="66" y="1421"/>
                  </a:cubicBezTo>
                  <a:cubicBezTo>
                    <a:pt x="52" y="1407"/>
                    <a:pt x="52" y="1407"/>
                    <a:pt x="52" y="1407"/>
                  </a:cubicBezTo>
                  <a:cubicBezTo>
                    <a:pt x="49" y="1389"/>
                    <a:pt x="49" y="1389"/>
                    <a:pt x="49" y="1389"/>
                  </a:cubicBezTo>
                  <a:cubicBezTo>
                    <a:pt x="37" y="1383"/>
                    <a:pt x="37" y="1383"/>
                    <a:pt x="37" y="1383"/>
                  </a:cubicBezTo>
                  <a:cubicBezTo>
                    <a:pt x="37" y="1371"/>
                    <a:pt x="37" y="1371"/>
                    <a:pt x="37" y="1371"/>
                  </a:cubicBezTo>
                  <a:cubicBezTo>
                    <a:pt x="42" y="1367"/>
                    <a:pt x="42" y="1367"/>
                    <a:pt x="42" y="1367"/>
                  </a:cubicBezTo>
                  <a:cubicBezTo>
                    <a:pt x="37" y="1362"/>
                    <a:pt x="37" y="1362"/>
                    <a:pt x="37" y="1362"/>
                  </a:cubicBezTo>
                  <a:cubicBezTo>
                    <a:pt x="37" y="1352"/>
                    <a:pt x="37" y="1352"/>
                    <a:pt x="37" y="1352"/>
                  </a:cubicBezTo>
                  <a:cubicBezTo>
                    <a:pt x="24" y="1347"/>
                    <a:pt x="24" y="1347"/>
                    <a:pt x="24" y="1347"/>
                  </a:cubicBezTo>
                  <a:cubicBezTo>
                    <a:pt x="21" y="1350"/>
                    <a:pt x="21" y="1350"/>
                    <a:pt x="21" y="1350"/>
                  </a:cubicBezTo>
                  <a:cubicBezTo>
                    <a:pt x="17" y="1339"/>
                    <a:pt x="17" y="1339"/>
                    <a:pt x="17" y="1339"/>
                  </a:cubicBezTo>
                  <a:cubicBezTo>
                    <a:pt x="23" y="1333"/>
                    <a:pt x="23" y="1333"/>
                    <a:pt x="23" y="1333"/>
                  </a:cubicBezTo>
                  <a:cubicBezTo>
                    <a:pt x="30" y="1322"/>
                    <a:pt x="30" y="1322"/>
                    <a:pt x="30" y="1322"/>
                  </a:cubicBezTo>
                  <a:cubicBezTo>
                    <a:pt x="40" y="1319"/>
                    <a:pt x="40" y="1319"/>
                    <a:pt x="40" y="1319"/>
                  </a:cubicBezTo>
                  <a:cubicBezTo>
                    <a:pt x="36" y="1293"/>
                    <a:pt x="36" y="1293"/>
                    <a:pt x="36" y="1293"/>
                  </a:cubicBezTo>
                  <a:cubicBezTo>
                    <a:pt x="33" y="1277"/>
                    <a:pt x="33" y="1277"/>
                    <a:pt x="33" y="1277"/>
                  </a:cubicBezTo>
                  <a:cubicBezTo>
                    <a:pt x="33" y="1268"/>
                    <a:pt x="33" y="1268"/>
                    <a:pt x="33" y="1268"/>
                  </a:cubicBezTo>
                  <a:cubicBezTo>
                    <a:pt x="22" y="1247"/>
                    <a:pt x="22" y="1247"/>
                    <a:pt x="22" y="1247"/>
                  </a:cubicBezTo>
                  <a:cubicBezTo>
                    <a:pt x="20" y="1225"/>
                    <a:pt x="20" y="1225"/>
                    <a:pt x="20" y="1225"/>
                  </a:cubicBezTo>
                  <a:cubicBezTo>
                    <a:pt x="9" y="1217"/>
                    <a:pt x="9" y="1217"/>
                    <a:pt x="9" y="1217"/>
                  </a:cubicBezTo>
                  <a:cubicBezTo>
                    <a:pt x="4" y="1205"/>
                    <a:pt x="4" y="1205"/>
                    <a:pt x="4" y="1205"/>
                  </a:cubicBezTo>
                  <a:cubicBezTo>
                    <a:pt x="0" y="1196"/>
                    <a:pt x="0" y="1196"/>
                    <a:pt x="0" y="1196"/>
                  </a:cubicBezTo>
                  <a:cubicBezTo>
                    <a:pt x="0" y="1191"/>
                    <a:pt x="0" y="1191"/>
                    <a:pt x="0" y="1191"/>
                  </a:cubicBezTo>
                  <a:cubicBezTo>
                    <a:pt x="14" y="1185"/>
                    <a:pt x="14" y="1185"/>
                    <a:pt x="14" y="1185"/>
                  </a:cubicBezTo>
                  <a:cubicBezTo>
                    <a:pt x="29" y="1165"/>
                    <a:pt x="29" y="1165"/>
                    <a:pt x="29" y="1165"/>
                  </a:cubicBezTo>
                  <a:cubicBezTo>
                    <a:pt x="39" y="1162"/>
                    <a:pt x="39" y="1162"/>
                    <a:pt x="39" y="1162"/>
                  </a:cubicBezTo>
                  <a:cubicBezTo>
                    <a:pt x="52" y="1166"/>
                    <a:pt x="52" y="1166"/>
                    <a:pt x="52" y="1166"/>
                  </a:cubicBezTo>
                  <a:cubicBezTo>
                    <a:pt x="56" y="1157"/>
                    <a:pt x="56" y="1157"/>
                    <a:pt x="56" y="1157"/>
                  </a:cubicBezTo>
                  <a:cubicBezTo>
                    <a:pt x="56" y="1146"/>
                    <a:pt x="56" y="1146"/>
                    <a:pt x="56" y="1146"/>
                  </a:cubicBezTo>
                  <a:cubicBezTo>
                    <a:pt x="49" y="1138"/>
                    <a:pt x="49" y="1138"/>
                    <a:pt x="49" y="1138"/>
                  </a:cubicBezTo>
                  <a:cubicBezTo>
                    <a:pt x="52" y="1125"/>
                    <a:pt x="52" y="1125"/>
                    <a:pt x="52" y="1125"/>
                  </a:cubicBezTo>
                  <a:cubicBezTo>
                    <a:pt x="62" y="1122"/>
                    <a:pt x="62" y="1122"/>
                    <a:pt x="62" y="1122"/>
                  </a:cubicBezTo>
                  <a:cubicBezTo>
                    <a:pt x="62" y="1098"/>
                    <a:pt x="62" y="1098"/>
                    <a:pt x="62" y="1098"/>
                  </a:cubicBezTo>
                  <a:cubicBezTo>
                    <a:pt x="73" y="1090"/>
                    <a:pt x="73" y="1090"/>
                    <a:pt x="73" y="1090"/>
                  </a:cubicBezTo>
                  <a:cubicBezTo>
                    <a:pt x="85" y="1077"/>
                    <a:pt x="85" y="1077"/>
                    <a:pt x="85" y="1077"/>
                  </a:cubicBezTo>
                  <a:cubicBezTo>
                    <a:pt x="88" y="1068"/>
                    <a:pt x="88" y="1068"/>
                    <a:pt x="88" y="1068"/>
                  </a:cubicBezTo>
                  <a:cubicBezTo>
                    <a:pt x="94" y="1068"/>
                    <a:pt x="94" y="1068"/>
                    <a:pt x="94" y="1068"/>
                  </a:cubicBezTo>
                  <a:cubicBezTo>
                    <a:pt x="93" y="1055"/>
                    <a:pt x="93" y="1055"/>
                    <a:pt x="93" y="1055"/>
                  </a:cubicBezTo>
                  <a:cubicBezTo>
                    <a:pt x="82" y="1055"/>
                    <a:pt x="82" y="1055"/>
                    <a:pt x="82" y="1055"/>
                  </a:cubicBezTo>
                  <a:cubicBezTo>
                    <a:pt x="73" y="1037"/>
                    <a:pt x="73" y="1037"/>
                    <a:pt x="73" y="1037"/>
                  </a:cubicBezTo>
                  <a:cubicBezTo>
                    <a:pt x="73" y="1020"/>
                    <a:pt x="73" y="1020"/>
                    <a:pt x="73" y="1020"/>
                  </a:cubicBezTo>
                  <a:cubicBezTo>
                    <a:pt x="64" y="1012"/>
                    <a:pt x="64" y="1012"/>
                    <a:pt x="64" y="1012"/>
                  </a:cubicBezTo>
                  <a:cubicBezTo>
                    <a:pt x="46" y="999"/>
                    <a:pt x="46" y="999"/>
                    <a:pt x="46" y="999"/>
                  </a:cubicBezTo>
                  <a:cubicBezTo>
                    <a:pt x="46" y="992"/>
                    <a:pt x="46" y="992"/>
                    <a:pt x="46" y="992"/>
                  </a:cubicBezTo>
                  <a:cubicBezTo>
                    <a:pt x="33" y="987"/>
                    <a:pt x="33" y="987"/>
                    <a:pt x="33" y="987"/>
                  </a:cubicBezTo>
                  <a:cubicBezTo>
                    <a:pt x="28" y="977"/>
                    <a:pt x="28" y="977"/>
                    <a:pt x="28" y="977"/>
                  </a:cubicBezTo>
                  <a:cubicBezTo>
                    <a:pt x="30" y="963"/>
                    <a:pt x="30" y="963"/>
                    <a:pt x="30" y="963"/>
                  </a:cubicBezTo>
                  <a:cubicBezTo>
                    <a:pt x="24" y="957"/>
                    <a:pt x="24" y="957"/>
                    <a:pt x="24" y="957"/>
                  </a:cubicBezTo>
                  <a:cubicBezTo>
                    <a:pt x="18" y="949"/>
                    <a:pt x="18" y="949"/>
                    <a:pt x="18" y="949"/>
                  </a:cubicBezTo>
                  <a:cubicBezTo>
                    <a:pt x="15" y="941"/>
                    <a:pt x="15" y="941"/>
                    <a:pt x="15" y="941"/>
                  </a:cubicBezTo>
                  <a:cubicBezTo>
                    <a:pt x="20" y="936"/>
                    <a:pt x="20" y="936"/>
                    <a:pt x="20" y="936"/>
                  </a:cubicBezTo>
                  <a:cubicBezTo>
                    <a:pt x="21" y="930"/>
                    <a:pt x="21" y="930"/>
                    <a:pt x="21" y="930"/>
                  </a:cubicBezTo>
                  <a:cubicBezTo>
                    <a:pt x="16" y="925"/>
                    <a:pt x="16" y="925"/>
                    <a:pt x="16" y="925"/>
                  </a:cubicBezTo>
                  <a:cubicBezTo>
                    <a:pt x="14" y="914"/>
                    <a:pt x="14" y="914"/>
                    <a:pt x="14" y="914"/>
                  </a:cubicBezTo>
                  <a:cubicBezTo>
                    <a:pt x="26" y="916"/>
                    <a:pt x="26" y="916"/>
                    <a:pt x="26" y="916"/>
                  </a:cubicBezTo>
                  <a:cubicBezTo>
                    <a:pt x="39" y="922"/>
                    <a:pt x="39" y="922"/>
                    <a:pt x="39" y="922"/>
                  </a:cubicBezTo>
                  <a:cubicBezTo>
                    <a:pt x="42" y="914"/>
                    <a:pt x="42" y="914"/>
                    <a:pt x="42" y="914"/>
                  </a:cubicBezTo>
                  <a:cubicBezTo>
                    <a:pt x="50" y="902"/>
                    <a:pt x="50" y="902"/>
                    <a:pt x="50" y="902"/>
                  </a:cubicBezTo>
                  <a:cubicBezTo>
                    <a:pt x="57" y="909"/>
                    <a:pt x="57" y="909"/>
                    <a:pt x="57" y="909"/>
                  </a:cubicBezTo>
                  <a:cubicBezTo>
                    <a:pt x="57" y="922"/>
                    <a:pt x="57" y="922"/>
                    <a:pt x="57" y="922"/>
                  </a:cubicBezTo>
                  <a:cubicBezTo>
                    <a:pt x="65" y="934"/>
                    <a:pt x="65" y="934"/>
                    <a:pt x="65" y="934"/>
                  </a:cubicBezTo>
                  <a:cubicBezTo>
                    <a:pt x="74" y="934"/>
                    <a:pt x="74" y="934"/>
                    <a:pt x="74" y="934"/>
                  </a:cubicBezTo>
                  <a:cubicBezTo>
                    <a:pt x="65" y="925"/>
                    <a:pt x="65" y="925"/>
                    <a:pt x="65" y="925"/>
                  </a:cubicBezTo>
                  <a:cubicBezTo>
                    <a:pt x="71" y="919"/>
                    <a:pt x="71" y="919"/>
                    <a:pt x="71" y="919"/>
                  </a:cubicBezTo>
                  <a:cubicBezTo>
                    <a:pt x="84" y="906"/>
                    <a:pt x="84" y="906"/>
                    <a:pt x="84" y="906"/>
                  </a:cubicBezTo>
                  <a:cubicBezTo>
                    <a:pt x="100" y="898"/>
                    <a:pt x="100" y="898"/>
                    <a:pt x="100" y="898"/>
                  </a:cubicBezTo>
                  <a:cubicBezTo>
                    <a:pt x="126" y="893"/>
                    <a:pt x="126" y="893"/>
                    <a:pt x="126" y="893"/>
                  </a:cubicBezTo>
                  <a:cubicBezTo>
                    <a:pt x="146" y="887"/>
                    <a:pt x="146" y="887"/>
                    <a:pt x="146" y="887"/>
                  </a:cubicBezTo>
                  <a:cubicBezTo>
                    <a:pt x="151" y="895"/>
                    <a:pt x="151" y="895"/>
                    <a:pt x="151" y="895"/>
                  </a:cubicBezTo>
                  <a:cubicBezTo>
                    <a:pt x="146" y="899"/>
                    <a:pt x="146" y="899"/>
                    <a:pt x="146" y="899"/>
                  </a:cubicBezTo>
                  <a:cubicBezTo>
                    <a:pt x="157" y="910"/>
                    <a:pt x="157" y="910"/>
                    <a:pt x="157" y="910"/>
                  </a:cubicBezTo>
                  <a:cubicBezTo>
                    <a:pt x="178" y="910"/>
                    <a:pt x="178" y="910"/>
                    <a:pt x="178" y="910"/>
                  </a:cubicBezTo>
                  <a:cubicBezTo>
                    <a:pt x="178" y="905"/>
                    <a:pt x="178" y="905"/>
                    <a:pt x="178" y="905"/>
                  </a:cubicBezTo>
                  <a:cubicBezTo>
                    <a:pt x="180" y="898"/>
                    <a:pt x="180" y="898"/>
                    <a:pt x="180" y="898"/>
                  </a:cubicBezTo>
                  <a:cubicBezTo>
                    <a:pt x="188" y="910"/>
                    <a:pt x="188" y="910"/>
                    <a:pt x="188" y="910"/>
                  </a:cubicBezTo>
                  <a:cubicBezTo>
                    <a:pt x="202" y="905"/>
                    <a:pt x="202" y="905"/>
                    <a:pt x="202" y="905"/>
                  </a:cubicBezTo>
                  <a:cubicBezTo>
                    <a:pt x="216" y="893"/>
                    <a:pt x="216" y="893"/>
                    <a:pt x="216" y="893"/>
                  </a:cubicBezTo>
                  <a:cubicBezTo>
                    <a:pt x="216" y="893"/>
                    <a:pt x="231" y="890"/>
                    <a:pt x="234" y="890"/>
                  </a:cubicBezTo>
                  <a:cubicBezTo>
                    <a:pt x="238" y="890"/>
                    <a:pt x="234" y="878"/>
                    <a:pt x="234" y="878"/>
                  </a:cubicBezTo>
                  <a:cubicBezTo>
                    <a:pt x="232" y="865"/>
                    <a:pt x="232" y="865"/>
                    <a:pt x="232" y="865"/>
                  </a:cubicBezTo>
                  <a:cubicBezTo>
                    <a:pt x="222" y="850"/>
                    <a:pt x="222" y="850"/>
                    <a:pt x="222" y="850"/>
                  </a:cubicBezTo>
                  <a:cubicBezTo>
                    <a:pt x="225" y="834"/>
                    <a:pt x="225" y="834"/>
                    <a:pt x="225" y="834"/>
                  </a:cubicBezTo>
                  <a:cubicBezTo>
                    <a:pt x="227" y="826"/>
                    <a:pt x="227" y="826"/>
                    <a:pt x="227" y="826"/>
                  </a:cubicBezTo>
                  <a:cubicBezTo>
                    <a:pt x="235" y="834"/>
                    <a:pt x="235" y="834"/>
                    <a:pt x="235" y="834"/>
                  </a:cubicBezTo>
                  <a:cubicBezTo>
                    <a:pt x="243" y="828"/>
                    <a:pt x="243" y="828"/>
                    <a:pt x="243" y="828"/>
                  </a:cubicBezTo>
                  <a:cubicBezTo>
                    <a:pt x="250" y="835"/>
                    <a:pt x="250" y="835"/>
                    <a:pt x="250" y="835"/>
                  </a:cubicBezTo>
                  <a:cubicBezTo>
                    <a:pt x="261" y="842"/>
                    <a:pt x="261" y="842"/>
                    <a:pt x="261" y="842"/>
                  </a:cubicBezTo>
                  <a:cubicBezTo>
                    <a:pt x="264" y="834"/>
                    <a:pt x="264" y="834"/>
                    <a:pt x="264" y="834"/>
                  </a:cubicBezTo>
                  <a:cubicBezTo>
                    <a:pt x="269" y="833"/>
                    <a:pt x="269" y="833"/>
                    <a:pt x="269" y="833"/>
                  </a:cubicBezTo>
                  <a:cubicBezTo>
                    <a:pt x="274" y="839"/>
                    <a:pt x="274" y="839"/>
                    <a:pt x="274" y="839"/>
                  </a:cubicBezTo>
                  <a:cubicBezTo>
                    <a:pt x="280" y="835"/>
                    <a:pt x="280" y="835"/>
                    <a:pt x="280" y="835"/>
                  </a:cubicBezTo>
                  <a:cubicBezTo>
                    <a:pt x="280" y="835"/>
                    <a:pt x="279" y="823"/>
                    <a:pt x="284" y="823"/>
                  </a:cubicBezTo>
                  <a:cubicBezTo>
                    <a:pt x="289" y="823"/>
                    <a:pt x="290" y="816"/>
                    <a:pt x="290" y="816"/>
                  </a:cubicBezTo>
                  <a:cubicBezTo>
                    <a:pt x="305" y="828"/>
                    <a:pt x="305" y="828"/>
                    <a:pt x="305" y="828"/>
                  </a:cubicBezTo>
                  <a:cubicBezTo>
                    <a:pt x="310" y="823"/>
                    <a:pt x="310" y="823"/>
                    <a:pt x="310" y="823"/>
                  </a:cubicBezTo>
                  <a:cubicBezTo>
                    <a:pt x="326" y="828"/>
                    <a:pt x="326" y="828"/>
                    <a:pt x="326" y="828"/>
                  </a:cubicBezTo>
                  <a:cubicBezTo>
                    <a:pt x="320" y="845"/>
                    <a:pt x="320" y="845"/>
                    <a:pt x="320" y="845"/>
                  </a:cubicBezTo>
                  <a:cubicBezTo>
                    <a:pt x="328" y="845"/>
                    <a:pt x="328" y="845"/>
                    <a:pt x="328" y="845"/>
                  </a:cubicBezTo>
                  <a:cubicBezTo>
                    <a:pt x="336" y="852"/>
                    <a:pt x="336" y="852"/>
                    <a:pt x="336" y="852"/>
                  </a:cubicBezTo>
                  <a:cubicBezTo>
                    <a:pt x="336" y="865"/>
                    <a:pt x="336" y="865"/>
                    <a:pt x="336" y="865"/>
                  </a:cubicBezTo>
                  <a:cubicBezTo>
                    <a:pt x="348" y="857"/>
                    <a:pt x="348" y="857"/>
                    <a:pt x="348" y="857"/>
                  </a:cubicBezTo>
                  <a:cubicBezTo>
                    <a:pt x="355" y="864"/>
                    <a:pt x="355" y="864"/>
                    <a:pt x="355" y="864"/>
                  </a:cubicBezTo>
                  <a:cubicBezTo>
                    <a:pt x="355" y="878"/>
                    <a:pt x="355" y="878"/>
                    <a:pt x="355" y="878"/>
                  </a:cubicBezTo>
                  <a:cubicBezTo>
                    <a:pt x="346" y="881"/>
                    <a:pt x="346" y="881"/>
                    <a:pt x="346" y="881"/>
                  </a:cubicBezTo>
                  <a:cubicBezTo>
                    <a:pt x="341" y="886"/>
                    <a:pt x="341" y="886"/>
                    <a:pt x="341" y="886"/>
                  </a:cubicBezTo>
                  <a:cubicBezTo>
                    <a:pt x="350" y="896"/>
                    <a:pt x="350" y="896"/>
                    <a:pt x="350" y="896"/>
                  </a:cubicBezTo>
                  <a:cubicBezTo>
                    <a:pt x="350" y="896"/>
                    <a:pt x="358" y="892"/>
                    <a:pt x="358" y="889"/>
                  </a:cubicBezTo>
                  <a:cubicBezTo>
                    <a:pt x="358" y="886"/>
                    <a:pt x="364" y="895"/>
                    <a:pt x="364" y="895"/>
                  </a:cubicBezTo>
                  <a:cubicBezTo>
                    <a:pt x="364" y="906"/>
                    <a:pt x="364" y="906"/>
                    <a:pt x="364" y="906"/>
                  </a:cubicBezTo>
                  <a:cubicBezTo>
                    <a:pt x="377" y="905"/>
                    <a:pt x="377" y="905"/>
                    <a:pt x="377" y="905"/>
                  </a:cubicBezTo>
                  <a:cubicBezTo>
                    <a:pt x="390" y="918"/>
                    <a:pt x="390" y="918"/>
                    <a:pt x="390" y="918"/>
                  </a:cubicBezTo>
                  <a:cubicBezTo>
                    <a:pt x="400" y="925"/>
                    <a:pt x="400" y="925"/>
                    <a:pt x="400" y="925"/>
                  </a:cubicBezTo>
                  <a:cubicBezTo>
                    <a:pt x="414" y="928"/>
                    <a:pt x="414" y="928"/>
                    <a:pt x="414" y="928"/>
                  </a:cubicBezTo>
                  <a:cubicBezTo>
                    <a:pt x="420" y="922"/>
                    <a:pt x="420" y="922"/>
                    <a:pt x="420" y="922"/>
                  </a:cubicBezTo>
                  <a:cubicBezTo>
                    <a:pt x="436" y="930"/>
                    <a:pt x="436" y="930"/>
                    <a:pt x="436" y="930"/>
                  </a:cubicBezTo>
                  <a:cubicBezTo>
                    <a:pt x="437" y="917"/>
                    <a:pt x="437" y="917"/>
                    <a:pt x="437" y="917"/>
                  </a:cubicBezTo>
                  <a:cubicBezTo>
                    <a:pt x="430" y="895"/>
                    <a:pt x="430" y="895"/>
                    <a:pt x="430" y="895"/>
                  </a:cubicBezTo>
                  <a:cubicBezTo>
                    <a:pt x="426" y="885"/>
                    <a:pt x="426" y="885"/>
                    <a:pt x="426" y="885"/>
                  </a:cubicBezTo>
                  <a:cubicBezTo>
                    <a:pt x="426" y="876"/>
                    <a:pt x="426" y="876"/>
                    <a:pt x="426" y="876"/>
                  </a:cubicBezTo>
                  <a:cubicBezTo>
                    <a:pt x="418" y="867"/>
                    <a:pt x="418" y="867"/>
                    <a:pt x="418" y="867"/>
                  </a:cubicBezTo>
                  <a:cubicBezTo>
                    <a:pt x="418" y="855"/>
                    <a:pt x="418" y="855"/>
                    <a:pt x="418" y="855"/>
                  </a:cubicBezTo>
                  <a:cubicBezTo>
                    <a:pt x="434" y="857"/>
                    <a:pt x="434" y="857"/>
                    <a:pt x="434" y="857"/>
                  </a:cubicBezTo>
                  <a:cubicBezTo>
                    <a:pt x="444" y="866"/>
                    <a:pt x="444" y="866"/>
                    <a:pt x="444" y="866"/>
                  </a:cubicBezTo>
                  <a:cubicBezTo>
                    <a:pt x="458" y="862"/>
                    <a:pt x="458" y="862"/>
                    <a:pt x="458" y="862"/>
                  </a:cubicBezTo>
                  <a:cubicBezTo>
                    <a:pt x="475" y="862"/>
                    <a:pt x="475" y="862"/>
                    <a:pt x="475" y="862"/>
                  </a:cubicBezTo>
                  <a:cubicBezTo>
                    <a:pt x="472" y="845"/>
                    <a:pt x="472" y="845"/>
                    <a:pt x="472" y="845"/>
                  </a:cubicBezTo>
                  <a:cubicBezTo>
                    <a:pt x="481" y="828"/>
                    <a:pt x="481" y="828"/>
                    <a:pt x="481" y="828"/>
                  </a:cubicBezTo>
                  <a:cubicBezTo>
                    <a:pt x="498" y="824"/>
                    <a:pt x="498" y="824"/>
                    <a:pt x="498" y="824"/>
                  </a:cubicBezTo>
                  <a:cubicBezTo>
                    <a:pt x="511" y="823"/>
                    <a:pt x="511" y="823"/>
                    <a:pt x="511" y="823"/>
                  </a:cubicBezTo>
                  <a:cubicBezTo>
                    <a:pt x="526" y="827"/>
                    <a:pt x="526" y="827"/>
                    <a:pt x="526" y="827"/>
                  </a:cubicBezTo>
                  <a:cubicBezTo>
                    <a:pt x="526" y="817"/>
                    <a:pt x="526" y="817"/>
                    <a:pt x="526" y="817"/>
                  </a:cubicBezTo>
                  <a:cubicBezTo>
                    <a:pt x="510" y="810"/>
                    <a:pt x="510" y="810"/>
                    <a:pt x="510" y="810"/>
                  </a:cubicBezTo>
                  <a:cubicBezTo>
                    <a:pt x="516" y="804"/>
                    <a:pt x="516" y="804"/>
                    <a:pt x="516" y="804"/>
                  </a:cubicBezTo>
                  <a:cubicBezTo>
                    <a:pt x="523" y="796"/>
                    <a:pt x="523" y="796"/>
                    <a:pt x="523" y="796"/>
                  </a:cubicBezTo>
                  <a:cubicBezTo>
                    <a:pt x="536" y="797"/>
                    <a:pt x="536" y="797"/>
                    <a:pt x="536" y="797"/>
                  </a:cubicBezTo>
                  <a:cubicBezTo>
                    <a:pt x="546" y="787"/>
                    <a:pt x="546" y="787"/>
                    <a:pt x="546" y="787"/>
                  </a:cubicBezTo>
                  <a:cubicBezTo>
                    <a:pt x="541" y="784"/>
                    <a:pt x="541" y="784"/>
                    <a:pt x="541" y="784"/>
                  </a:cubicBezTo>
                  <a:cubicBezTo>
                    <a:pt x="531" y="774"/>
                    <a:pt x="531" y="774"/>
                    <a:pt x="531" y="774"/>
                  </a:cubicBezTo>
                  <a:cubicBezTo>
                    <a:pt x="520" y="768"/>
                    <a:pt x="520" y="768"/>
                    <a:pt x="520" y="768"/>
                  </a:cubicBezTo>
                  <a:cubicBezTo>
                    <a:pt x="520" y="754"/>
                    <a:pt x="520" y="754"/>
                    <a:pt x="520" y="754"/>
                  </a:cubicBezTo>
                  <a:cubicBezTo>
                    <a:pt x="515" y="750"/>
                    <a:pt x="515" y="750"/>
                    <a:pt x="515" y="750"/>
                  </a:cubicBezTo>
                  <a:cubicBezTo>
                    <a:pt x="508" y="767"/>
                    <a:pt x="508" y="767"/>
                    <a:pt x="508" y="767"/>
                  </a:cubicBezTo>
                  <a:cubicBezTo>
                    <a:pt x="500" y="762"/>
                    <a:pt x="500" y="762"/>
                    <a:pt x="500" y="762"/>
                  </a:cubicBezTo>
                  <a:cubicBezTo>
                    <a:pt x="500" y="748"/>
                    <a:pt x="500" y="748"/>
                    <a:pt x="500" y="748"/>
                  </a:cubicBezTo>
                  <a:cubicBezTo>
                    <a:pt x="515" y="734"/>
                    <a:pt x="515" y="734"/>
                    <a:pt x="515" y="734"/>
                  </a:cubicBezTo>
                  <a:cubicBezTo>
                    <a:pt x="513" y="725"/>
                    <a:pt x="513" y="725"/>
                    <a:pt x="513" y="725"/>
                  </a:cubicBezTo>
                  <a:cubicBezTo>
                    <a:pt x="499" y="716"/>
                    <a:pt x="499" y="716"/>
                    <a:pt x="499" y="716"/>
                  </a:cubicBezTo>
                  <a:cubicBezTo>
                    <a:pt x="508" y="708"/>
                    <a:pt x="508" y="708"/>
                    <a:pt x="508" y="708"/>
                  </a:cubicBezTo>
                  <a:cubicBezTo>
                    <a:pt x="520" y="708"/>
                    <a:pt x="520" y="708"/>
                    <a:pt x="520" y="708"/>
                  </a:cubicBezTo>
                  <a:cubicBezTo>
                    <a:pt x="539" y="698"/>
                    <a:pt x="539" y="698"/>
                    <a:pt x="539" y="698"/>
                  </a:cubicBezTo>
                  <a:cubicBezTo>
                    <a:pt x="544" y="683"/>
                    <a:pt x="544" y="683"/>
                    <a:pt x="544" y="683"/>
                  </a:cubicBezTo>
                  <a:cubicBezTo>
                    <a:pt x="569" y="674"/>
                    <a:pt x="569" y="674"/>
                    <a:pt x="569" y="674"/>
                  </a:cubicBezTo>
                  <a:cubicBezTo>
                    <a:pt x="588" y="665"/>
                    <a:pt x="588" y="665"/>
                    <a:pt x="588" y="665"/>
                  </a:cubicBezTo>
                  <a:cubicBezTo>
                    <a:pt x="588" y="665"/>
                    <a:pt x="591" y="668"/>
                    <a:pt x="591" y="672"/>
                  </a:cubicBezTo>
                  <a:cubicBezTo>
                    <a:pt x="591" y="676"/>
                    <a:pt x="578" y="680"/>
                    <a:pt x="578" y="680"/>
                  </a:cubicBezTo>
                  <a:cubicBezTo>
                    <a:pt x="574" y="698"/>
                    <a:pt x="574" y="698"/>
                    <a:pt x="574" y="698"/>
                  </a:cubicBezTo>
                  <a:cubicBezTo>
                    <a:pt x="585" y="693"/>
                    <a:pt x="585" y="693"/>
                    <a:pt x="585" y="693"/>
                  </a:cubicBezTo>
                  <a:cubicBezTo>
                    <a:pt x="595" y="683"/>
                    <a:pt x="595" y="683"/>
                    <a:pt x="595" y="683"/>
                  </a:cubicBezTo>
                  <a:cubicBezTo>
                    <a:pt x="608" y="687"/>
                    <a:pt x="608" y="687"/>
                    <a:pt x="608" y="687"/>
                  </a:cubicBezTo>
                  <a:cubicBezTo>
                    <a:pt x="604" y="713"/>
                    <a:pt x="604" y="713"/>
                    <a:pt x="604" y="713"/>
                  </a:cubicBezTo>
                  <a:cubicBezTo>
                    <a:pt x="616" y="702"/>
                    <a:pt x="616" y="702"/>
                    <a:pt x="616" y="702"/>
                  </a:cubicBezTo>
                  <a:cubicBezTo>
                    <a:pt x="616" y="690"/>
                    <a:pt x="616" y="690"/>
                    <a:pt x="616" y="690"/>
                  </a:cubicBezTo>
                  <a:cubicBezTo>
                    <a:pt x="612" y="668"/>
                    <a:pt x="612" y="668"/>
                    <a:pt x="612" y="668"/>
                  </a:cubicBezTo>
                  <a:cubicBezTo>
                    <a:pt x="614" y="659"/>
                    <a:pt x="614" y="659"/>
                    <a:pt x="614" y="659"/>
                  </a:cubicBezTo>
                  <a:cubicBezTo>
                    <a:pt x="620" y="642"/>
                    <a:pt x="620" y="642"/>
                    <a:pt x="620" y="642"/>
                  </a:cubicBezTo>
                  <a:cubicBezTo>
                    <a:pt x="634" y="636"/>
                    <a:pt x="634" y="636"/>
                    <a:pt x="634" y="636"/>
                  </a:cubicBezTo>
                  <a:cubicBezTo>
                    <a:pt x="654" y="627"/>
                    <a:pt x="654" y="627"/>
                    <a:pt x="654" y="627"/>
                  </a:cubicBezTo>
                  <a:cubicBezTo>
                    <a:pt x="666" y="636"/>
                    <a:pt x="666" y="636"/>
                    <a:pt x="666" y="636"/>
                  </a:cubicBezTo>
                  <a:cubicBezTo>
                    <a:pt x="666" y="636"/>
                    <a:pt x="661" y="643"/>
                    <a:pt x="656" y="648"/>
                  </a:cubicBezTo>
                  <a:cubicBezTo>
                    <a:pt x="652" y="652"/>
                    <a:pt x="661" y="655"/>
                    <a:pt x="661" y="655"/>
                  </a:cubicBezTo>
                  <a:cubicBezTo>
                    <a:pt x="676" y="655"/>
                    <a:pt x="676" y="655"/>
                    <a:pt x="676" y="655"/>
                  </a:cubicBezTo>
                  <a:cubicBezTo>
                    <a:pt x="685" y="644"/>
                    <a:pt x="685" y="644"/>
                    <a:pt x="685" y="644"/>
                  </a:cubicBezTo>
                  <a:cubicBezTo>
                    <a:pt x="685" y="644"/>
                    <a:pt x="696" y="656"/>
                    <a:pt x="698" y="658"/>
                  </a:cubicBezTo>
                  <a:cubicBezTo>
                    <a:pt x="700" y="660"/>
                    <a:pt x="696" y="642"/>
                    <a:pt x="696" y="642"/>
                  </a:cubicBezTo>
                  <a:cubicBezTo>
                    <a:pt x="714" y="632"/>
                    <a:pt x="714" y="632"/>
                    <a:pt x="714" y="632"/>
                  </a:cubicBezTo>
                  <a:cubicBezTo>
                    <a:pt x="726" y="639"/>
                    <a:pt x="726" y="639"/>
                    <a:pt x="726" y="639"/>
                  </a:cubicBezTo>
                  <a:cubicBezTo>
                    <a:pt x="740" y="638"/>
                    <a:pt x="740" y="638"/>
                    <a:pt x="740" y="638"/>
                  </a:cubicBezTo>
                  <a:cubicBezTo>
                    <a:pt x="753" y="626"/>
                    <a:pt x="753" y="626"/>
                    <a:pt x="753" y="626"/>
                  </a:cubicBezTo>
                  <a:cubicBezTo>
                    <a:pt x="766" y="609"/>
                    <a:pt x="766" y="609"/>
                    <a:pt x="766" y="609"/>
                  </a:cubicBezTo>
                  <a:cubicBezTo>
                    <a:pt x="766" y="590"/>
                    <a:pt x="766" y="590"/>
                    <a:pt x="766" y="590"/>
                  </a:cubicBezTo>
                  <a:cubicBezTo>
                    <a:pt x="783" y="565"/>
                    <a:pt x="783" y="565"/>
                    <a:pt x="783" y="565"/>
                  </a:cubicBezTo>
                  <a:cubicBezTo>
                    <a:pt x="797" y="551"/>
                    <a:pt x="797" y="551"/>
                    <a:pt x="797" y="551"/>
                  </a:cubicBezTo>
                  <a:cubicBezTo>
                    <a:pt x="810" y="536"/>
                    <a:pt x="810" y="536"/>
                    <a:pt x="810" y="536"/>
                  </a:cubicBezTo>
                  <a:cubicBezTo>
                    <a:pt x="832" y="532"/>
                    <a:pt x="832" y="532"/>
                    <a:pt x="832" y="532"/>
                  </a:cubicBezTo>
                  <a:cubicBezTo>
                    <a:pt x="850" y="531"/>
                    <a:pt x="850" y="531"/>
                    <a:pt x="850" y="531"/>
                  </a:cubicBezTo>
                  <a:cubicBezTo>
                    <a:pt x="859" y="540"/>
                    <a:pt x="859" y="540"/>
                    <a:pt x="859" y="540"/>
                  </a:cubicBezTo>
                  <a:cubicBezTo>
                    <a:pt x="878" y="559"/>
                    <a:pt x="878" y="559"/>
                    <a:pt x="878" y="559"/>
                  </a:cubicBezTo>
                  <a:cubicBezTo>
                    <a:pt x="894" y="552"/>
                    <a:pt x="894" y="552"/>
                    <a:pt x="894" y="552"/>
                  </a:cubicBezTo>
                  <a:cubicBezTo>
                    <a:pt x="906" y="542"/>
                    <a:pt x="906" y="542"/>
                    <a:pt x="906" y="542"/>
                  </a:cubicBezTo>
                  <a:cubicBezTo>
                    <a:pt x="919" y="542"/>
                    <a:pt x="919" y="542"/>
                    <a:pt x="919" y="542"/>
                  </a:cubicBezTo>
                  <a:cubicBezTo>
                    <a:pt x="913" y="536"/>
                    <a:pt x="913" y="536"/>
                    <a:pt x="913" y="536"/>
                  </a:cubicBezTo>
                  <a:cubicBezTo>
                    <a:pt x="913" y="526"/>
                    <a:pt x="913" y="526"/>
                    <a:pt x="913" y="526"/>
                  </a:cubicBezTo>
                  <a:cubicBezTo>
                    <a:pt x="926" y="514"/>
                    <a:pt x="926" y="514"/>
                    <a:pt x="926" y="514"/>
                  </a:cubicBezTo>
                  <a:cubicBezTo>
                    <a:pt x="926" y="492"/>
                    <a:pt x="926" y="492"/>
                    <a:pt x="926" y="492"/>
                  </a:cubicBezTo>
                  <a:cubicBezTo>
                    <a:pt x="932" y="480"/>
                    <a:pt x="932" y="480"/>
                    <a:pt x="932" y="480"/>
                  </a:cubicBezTo>
                  <a:cubicBezTo>
                    <a:pt x="942" y="480"/>
                    <a:pt x="942" y="480"/>
                    <a:pt x="942" y="480"/>
                  </a:cubicBezTo>
                  <a:cubicBezTo>
                    <a:pt x="950" y="472"/>
                    <a:pt x="950" y="472"/>
                    <a:pt x="950" y="472"/>
                  </a:cubicBezTo>
                  <a:cubicBezTo>
                    <a:pt x="950" y="458"/>
                    <a:pt x="950" y="458"/>
                    <a:pt x="950" y="458"/>
                  </a:cubicBezTo>
                  <a:cubicBezTo>
                    <a:pt x="967" y="446"/>
                    <a:pt x="967" y="446"/>
                    <a:pt x="967" y="446"/>
                  </a:cubicBezTo>
                  <a:cubicBezTo>
                    <a:pt x="971" y="430"/>
                    <a:pt x="971" y="430"/>
                    <a:pt x="971" y="430"/>
                  </a:cubicBezTo>
                  <a:cubicBezTo>
                    <a:pt x="964" y="424"/>
                    <a:pt x="964" y="424"/>
                    <a:pt x="964" y="424"/>
                  </a:cubicBezTo>
                  <a:cubicBezTo>
                    <a:pt x="967" y="416"/>
                    <a:pt x="967" y="416"/>
                    <a:pt x="967" y="416"/>
                  </a:cubicBezTo>
                  <a:cubicBezTo>
                    <a:pt x="958" y="402"/>
                    <a:pt x="958" y="402"/>
                    <a:pt x="958" y="402"/>
                  </a:cubicBezTo>
                  <a:cubicBezTo>
                    <a:pt x="965" y="389"/>
                    <a:pt x="965" y="389"/>
                    <a:pt x="965" y="389"/>
                  </a:cubicBezTo>
                  <a:cubicBezTo>
                    <a:pt x="972" y="382"/>
                    <a:pt x="972" y="382"/>
                    <a:pt x="972" y="382"/>
                  </a:cubicBezTo>
                  <a:cubicBezTo>
                    <a:pt x="985" y="395"/>
                    <a:pt x="985" y="395"/>
                    <a:pt x="985" y="395"/>
                  </a:cubicBezTo>
                  <a:cubicBezTo>
                    <a:pt x="975" y="404"/>
                    <a:pt x="975" y="404"/>
                    <a:pt x="975" y="404"/>
                  </a:cubicBezTo>
                  <a:cubicBezTo>
                    <a:pt x="985" y="414"/>
                    <a:pt x="985" y="414"/>
                    <a:pt x="985" y="414"/>
                  </a:cubicBezTo>
                  <a:cubicBezTo>
                    <a:pt x="1000" y="414"/>
                    <a:pt x="1000" y="414"/>
                    <a:pt x="1000" y="414"/>
                  </a:cubicBezTo>
                  <a:cubicBezTo>
                    <a:pt x="1011" y="410"/>
                    <a:pt x="1011" y="410"/>
                    <a:pt x="1011" y="410"/>
                  </a:cubicBezTo>
                  <a:cubicBezTo>
                    <a:pt x="1026" y="404"/>
                    <a:pt x="1026" y="404"/>
                    <a:pt x="1026" y="404"/>
                  </a:cubicBezTo>
                  <a:cubicBezTo>
                    <a:pt x="1039" y="400"/>
                    <a:pt x="1039" y="400"/>
                    <a:pt x="1039" y="400"/>
                  </a:cubicBezTo>
                  <a:cubicBezTo>
                    <a:pt x="1042" y="390"/>
                    <a:pt x="1042" y="390"/>
                    <a:pt x="1042" y="390"/>
                  </a:cubicBezTo>
                  <a:cubicBezTo>
                    <a:pt x="1038" y="379"/>
                    <a:pt x="1038" y="379"/>
                    <a:pt x="1038" y="379"/>
                  </a:cubicBezTo>
                  <a:cubicBezTo>
                    <a:pt x="1031" y="378"/>
                    <a:pt x="1031" y="378"/>
                    <a:pt x="1031" y="378"/>
                  </a:cubicBezTo>
                  <a:cubicBezTo>
                    <a:pt x="1008" y="368"/>
                    <a:pt x="1008" y="368"/>
                    <a:pt x="1008" y="368"/>
                  </a:cubicBezTo>
                  <a:cubicBezTo>
                    <a:pt x="992" y="370"/>
                    <a:pt x="992" y="370"/>
                    <a:pt x="992" y="370"/>
                  </a:cubicBezTo>
                  <a:cubicBezTo>
                    <a:pt x="988" y="361"/>
                    <a:pt x="988" y="361"/>
                    <a:pt x="988" y="361"/>
                  </a:cubicBezTo>
                  <a:cubicBezTo>
                    <a:pt x="974" y="361"/>
                    <a:pt x="974" y="361"/>
                    <a:pt x="974" y="361"/>
                  </a:cubicBezTo>
                  <a:cubicBezTo>
                    <a:pt x="974" y="354"/>
                    <a:pt x="974" y="354"/>
                    <a:pt x="974" y="354"/>
                  </a:cubicBezTo>
                  <a:cubicBezTo>
                    <a:pt x="978" y="341"/>
                    <a:pt x="978" y="341"/>
                    <a:pt x="978" y="341"/>
                  </a:cubicBezTo>
                  <a:cubicBezTo>
                    <a:pt x="990" y="335"/>
                    <a:pt x="990" y="335"/>
                    <a:pt x="990" y="335"/>
                  </a:cubicBezTo>
                  <a:cubicBezTo>
                    <a:pt x="991" y="321"/>
                    <a:pt x="991" y="321"/>
                    <a:pt x="991" y="321"/>
                  </a:cubicBezTo>
                  <a:cubicBezTo>
                    <a:pt x="1002" y="315"/>
                    <a:pt x="1002" y="315"/>
                    <a:pt x="1002" y="315"/>
                  </a:cubicBezTo>
                  <a:cubicBezTo>
                    <a:pt x="1011" y="315"/>
                    <a:pt x="1011" y="315"/>
                    <a:pt x="1011" y="315"/>
                  </a:cubicBezTo>
                  <a:cubicBezTo>
                    <a:pt x="1007" y="304"/>
                    <a:pt x="1007" y="304"/>
                    <a:pt x="1007" y="304"/>
                  </a:cubicBezTo>
                  <a:cubicBezTo>
                    <a:pt x="1011" y="292"/>
                    <a:pt x="1011" y="292"/>
                    <a:pt x="1011" y="292"/>
                  </a:cubicBezTo>
                  <a:cubicBezTo>
                    <a:pt x="1022" y="275"/>
                    <a:pt x="1022" y="275"/>
                    <a:pt x="1022" y="275"/>
                  </a:cubicBezTo>
                  <a:cubicBezTo>
                    <a:pt x="1028" y="256"/>
                    <a:pt x="1028" y="256"/>
                    <a:pt x="1028" y="256"/>
                  </a:cubicBezTo>
                  <a:cubicBezTo>
                    <a:pt x="1048" y="236"/>
                    <a:pt x="1048" y="236"/>
                    <a:pt x="1048" y="236"/>
                  </a:cubicBezTo>
                  <a:cubicBezTo>
                    <a:pt x="1071" y="213"/>
                    <a:pt x="1071" y="213"/>
                    <a:pt x="1071" y="213"/>
                  </a:cubicBezTo>
                  <a:cubicBezTo>
                    <a:pt x="1081" y="203"/>
                    <a:pt x="1081" y="203"/>
                    <a:pt x="1081" y="203"/>
                  </a:cubicBezTo>
                  <a:cubicBezTo>
                    <a:pt x="1101" y="194"/>
                    <a:pt x="1101" y="194"/>
                    <a:pt x="1101" y="194"/>
                  </a:cubicBezTo>
                  <a:cubicBezTo>
                    <a:pt x="1115" y="186"/>
                    <a:pt x="1115" y="186"/>
                    <a:pt x="1115" y="186"/>
                  </a:cubicBezTo>
                  <a:cubicBezTo>
                    <a:pt x="1129" y="173"/>
                    <a:pt x="1129" y="173"/>
                    <a:pt x="1129" y="173"/>
                  </a:cubicBezTo>
                  <a:cubicBezTo>
                    <a:pt x="1142" y="159"/>
                    <a:pt x="1142" y="159"/>
                    <a:pt x="1142" y="159"/>
                  </a:cubicBezTo>
                  <a:cubicBezTo>
                    <a:pt x="1159" y="152"/>
                    <a:pt x="1159" y="152"/>
                    <a:pt x="1159" y="152"/>
                  </a:cubicBezTo>
                  <a:cubicBezTo>
                    <a:pt x="1171" y="135"/>
                    <a:pt x="1171" y="135"/>
                    <a:pt x="1171" y="135"/>
                  </a:cubicBezTo>
                  <a:cubicBezTo>
                    <a:pt x="1194" y="128"/>
                    <a:pt x="1194" y="128"/>
                    <a:pt x="1194" y="128"/>
                  </a:cubicBezTo>
                  <a:cubicBezTo>
                    <a:pt x="1206" y="116"/>
                    <a:pt x="1206" y="116"/>
                    <a:pt x="1206" y="116"/>
                  </a:cubicBezTo>
                  <a:cubicBezTo>
                    <a:pt x="1220" y="109"/>
                    <a:pt x="1220" y="109"/>
                    <a:pt x="1220" y="109"/>
                  </a:cubicBezTo>
                  <a:cubicBezTo>
                    <a:pt x="1230" y="104"/>
                    <a:pt x="1230" y="104"/>
                    <a:pt x="1230" y="104"/>
                  </a:cubicBezTo>
                  <a:cubicBezTo>
                    <a:pt x="1240" y="114"/>
                    <a:pt x="1240" y="114"/>
                    <a:pt x="1240" y="114"/>
                  </a:cubicBezTo>
                  <a:cubicBezTo>
                    <a:pt x="1256" y="110"/>
                    <a:pt x="1256" y="110"/>
                    <a:pt x="1256" y="110"/>
                  </a:cubicBezTo>
                  <a:cubicBezTo>
                    <a:pt x="1269" y="120"/>
                    <a:pt x="1269" y="120"/>
                    <a:pt x="1269" y="120"/>
                  </a:cubicBezTo>
                  <a:cubicBezTo>
                    <a:pt x="1278" y="111"/>
                    <a:pt x="1278" y="111"/>
                    <a:pt x="1278" y="111"/>
                  </a:cubicBezTo>
                  <a:cubicBezTo>
                    <a:pt x="1294" y="102"/>
                    <a:pt x="1294" y="102"/>
                    <a:pt x="1294" y="102"/>
                  </a:cubicBezTo>
                  <a:cubicBezTo>
                    <a:pt x="1294" y="94"/>
                    <a:pt x="1294" y="94"/>
                    <a:pt x="1294" y="94"/>
                  </a:cubicBezTo>
                  <a:cubicBezTo>
                    <a:pt x="1278" y="98"/>
                    <a:pt x="1278" y="98"/>
                    <a:pt x="1278" y="98"/>
                  </a:cubicBezTo>
                  <a:cubicBezTo>
                    <a:pt x="1260" y="96"/>
                    <a:pt x="1260" y="96"/>
                    <a:pt x="1260" y="96"/>
                  </a:cubicBezTo>
                  <a:cubicBezTo>
                    <a:pt x="1248" y="93"/>
                    <a:pt x="1248" y="93"/>
                    <a:pt x="1248" y="93"/>
                  </a:cubicBezTo>
                  <a:cubicBezTo>
                    <a:pt x="1252" y="81"/>
                    <a:pt x="1252" y="81"/>
                    <a:pt x="1252" y="81"/>
                  </a:cubicBezTo>
                  <a:cubicBezTo>
                    <a:pt x="1264" y="72"/>
                    <a:pt x="1264" y="72"/>
                    <a:pt x="1264" y="72"/>
                  </a:cubicBezTo>
                  <a:cubicBezTo>
                    <a:pt x="1254" y="70"/>
                    <a:pt x="1254" y="70"/>
                    <a:pt x="1254" y="70"/>
                  </a:cubicBezTo>
                  <a:cubicBezTo>
                    <a:pt x="1254" y="64"/>
                    <a:pt x="1254" y="64"/>
                    <a:pt x="1254" y="64"/>
                  </a:cubicBezTo>
                  <a:cubicBezTo>
                    <a:pt x="1261" y="64"/>
                    <a:pt x="1261" y="64"/>
                    <a:pt x="1261" y="64"/>
                  </a:cubicBezTo>
                  <a:cubicBezTo>
                    <a:pt x="1262" y="52"/>
                    <a:pt x="1262" y="52"/>
                    <a:pt x="1262" y="52"/>
                  </a:cubicBezTo>
                  <a:cubicBezTo>
                    <a:pt x="1269" y="43"/>
                    <a:pt x="1269" y="43"/>
                    <a:pt x="1269" y="43"/>
                  </a:cubicBezTo>
                  <a:cubicBezTo>
                    <a:pt x="1278" y="34"/>
                    <a:pt x="1278" y="34"/>
                    <a:pt x="1278" y="34"/>
                  </a:cubicBezTo>
                  <a:cubicBezTo>
                    <a:pt x="1294" y="28"/>
                    <a:pt x="1294" y="28"/>
                    <a:pt x="1294" y="28"/>
                  </a:cubicBezTo>
                  <a:cubicBezTo>
                    <a:pt x="1299" y="28"/>
                    <a:pt x="1299" y="28"/>
                    <a:pt x="1299" y="28"/>
                  </a:cubicBezTo>
                  <a:cubicBezTo>
                    <a:pt x="1311" y="11"/>
                    <a:pt x="1311" y="11"/>
                    <a:pt x="1311" y="11"/>
                  </a:cubicBezTo>
                  <a:cubicBezTo>
                    <a:pt x="1311" y="11"/>
                    <a:pt x="1322" y="8"/>
                    <a:pt x="1326" y="4"/>
                  </a:cubicBezTo>
                  <a:cubicBezTo>
                    <a:pt x="1330" y="0"/>
                    <a:pt x="1326" y="15"/>
                    <a:pt x="1326" y="15"/>
                  </a:cubicBezTo>
                  <a:cubicBezTo>
                    <a:pt x="1335" y="22"/>
                    <a:pt x="1335" y="22"/>
                    <a:pt x="1335" y="22"/>
                  </a:cubicBezTo>
                  <a:cubicBezTo>
                    <a:pt x="1342" y="29"/>
                    <a:pt x="1342" y="29"/>
                    <a:pt x="1342" y="29"/>
                  </a:cubicBezTo>
                  <a:cubicBezTo>
                    <a:pt x="1334" y="44"/>
                    <a:pt x="1334" y="44"/>
                    <a:pt x="1334" y="44"/>
                  </a:cubicBezTo>
                  <a:cubicBezTo>
                    <a:pt x="1334" y="44"/>
                    <a:pt x="1344" y="44"/>
                    <a:pt x="1348" y="40"/>
                  </a:cubicBezTo>
                  <a:cubicBezTo>
                    <a:pt x="1352" y="36"/>
                    <a:pt x="1348" y="48"/>
                    <a:pt x="1348" y="48"/>
                  </a:cubicBezTo>
                  <a:cubicBezTo>
                    <a:pt x="1348" y="62"/>
                    <a:pt x="1348" y="62"/>
                    <a:pt x="1348" y="62"/>
                  </a:cubicBezTo>
                  <a:cubicBezTo>
                    <a:pt x="1333" y="72"/>
                    <a:pt x="1333" y="72"/>
                    <a:pt x="1333" y="72"/>
                  </a:cubicBezTo>
                  <a:cubicBezTo>
                    <a:pt x="1345" y="74"/>
                    <a:pt x="1345" y="74"/>
                    <a:pt x="1345" y="74"/>
                  </a:cubicBezTo>
                  <a:cubicBezTo>
                    <a:pt x="1352" y="67"/>
                    <a:pt x="1352" y="67"/>
                    <a:pt x="1352" y="67"/>
                  </a:cubicBezTo>
                  <a:cubicBezTo>
                    <a:pt x="1368" y="73"/>
                    <a:pt x="1368" y="73"/>
                    <a:pt x="1368" y="73"/>
                  </a:cubicBezTo>
                  <a:cubicBezTo>
                    <a:pt x="1368" y="66"/>
                    <a:pt x="1368" y="66"/>
                    <a:pt x="1368" y="66"/>
                  </a:cubicBezTo>
                  <a:cubicBezTo>
                    <a:pt x="1380" y="78"/>
                    <a:pt x="1380" y="78"/>
                    <a:pt x="1380" y="78"/>
                  </a:cubicBezTo>
                  <a:cubicBezTo>
                    <a:pt x="1389" y="92"/>
                    <a:pt x="1389" y="92"/>
                    <a:pt x="1389" y="92"/>
                  </a:cubicBezTo>
                  <a:cubicBezTo>
                    <a:pt x="1396" y="90"/>
                    <a:pt x="1396" y="90"/>
                    <a:pt x="1396" y="90"/>
                  </a:cubicBezTo>
                  <a:cubicBezTo>
                    <a:pt x="1404" y="80"/>
                    <a:pt x="1404" y="80"/>
                    <a:pt x="1404" y="80"/>
                  </a:cubicBezTo>
                  <a:cubicBezTo>
                    <a:pt x="1404" y="89"/>
                    <a:pt x="1404" y="89"/>
                    <a:pt x="1404" y="89"/>
                  </a:cubicBezTo>
                  <a:cubicBezTo>
                    <a:pt x="1408" y="100"/>
                    <a:pt x="1408" y="100"/>
                    <a:pt x="1408" y="100"/>
                  </a:cubicBezTo>
                  <a:cubicBezTo>
                    <a:pt x="1394" y="100"/>
                    <a:pt x="1394" y="100"/>
                    <a:pt x="1394" y="100"/>
                  </a:cubicBezTo>
                  <a:cubicBezTo>
                    <a:pt x="1394" y="105"/>
                    <a:pt x="1394" y="105"/>
                    <a:pt x="1394" y="105"/>
                  </a:cubicBezTo>
                  <a:cubicBezTo>
                    <a:pt x="1406" y="108"/>
                    <a:pt x="1406" y="108"/>
                    <a:pt x="1406" y="108"/>
                  </a:cubicBezTo>
                  <a:cubicBezTo>
                    <a:pt x="1400" y="126"/>
                    <a:pt x="1400" y="126"/>
                    <a:pt x="1400" y="126"/>
                  </a:cubicBezTo>
                  <a:cubicBezTo>
                    <a:pt x="1384" y="127"/>
                    <a:pt x="1384" y="127"/>
                    <a:pt x="1384" y="127"/>
                  </a:cubicBezTo>
                  <a:cubicBezTo>
                    <a:pt x="1370" y="142"/>
                    <a:pt x="1370" y="142"/>
                    <a:pt x="1370" y="142"/>
                  </a:cubicBezTo>
                  <a:cubicBezTo>
                    <a:pt x="1363" y="158"/>
                    <a:pt x="1363" y="158"/>
                    <a:pt x="1363" y="158"/>
                  </a:cubicBezTo>
                  <a:cubicBezTo>
                    <a:pt x="1349" y="163"/>
                    <a:pt x="1349" y="163"/>
                    <a:pt x="1349" y="163"/>
                  </a:cubicBezTo>
                  <a:cubicBezTo>
                    <a:pt x="1339" y="159"/>
                    <a:pt x="1339" y="159"/>
                    <a:pt x="1339" y="159"/>
                  </a:cubicBezTo>
                  <a:cubicBezTo>
                    <a:pt x="1326" y="159"/>
                    <a:pt x="1326" y="159"/>
                    <a:pt x="1326" y="159"/>
                  </a:cubicBezTo>
                  <a:cubicBezTo>
                    <a:pt x="1315" y="176"/>
                    <a:pt x="1315" y="176"/>
                    <a:pt x="1315" y="176"/>
                  </a:cubicBezTo>
                  <a:cubicBezTo>
                    <a:pt x="1320" y="186"/>
                    <a:pt x="1320" y="186"/>
                    <a:pt x="1320" y="186"/>
                  </a:cubicBezTo>
                  <a:cubicBezTo>
                    <a:pt x="1320" y="203"/>
                    <a:pt x="1320" y="203"/>
                    <a:pt x="1320" y="203"/>
                  </a:cubicBezTo>
                  <a:cubicBezTo>
                    <a:pt x="1309" y="214"/>
                    <a:pt x="1309" y="214"/>
                    <a:pt x="1309" y="214"/>
                  </a:cubicBezTo>
                  <a:cubicBezTo>
                    <a:pt x="1300" y="207"/>
                    <a:pt x="1300" y="207"/>
                    <a:pt x="1300" y="207"/>
                  </a:cubicBezTo>
                  <a:cubicBezTo>
                    <a:pt x="1292" y="214"/>
                    <a:pt x="1292" y="214"/>
                    <a:pt x="1292" y="214"/>
                  </a:cubicBezTo>
                  <a:cubicBezTo>
                    <a:pt x="1279" y="214"/>
                    <a:pt x="1279" y="214"/>
                    <a:pt x="1279" y="214"/>
                  </a:cubicBezTo>
                  <a:cubicBezTo>
                    <a:pt x="1272" y="208"/>
                    <a:pt x="1272" y="208"/>
                    <a:pt x="1272" y="208"/>
                  </a:cubicBezTo>
                  <a:cubicBezTo>
                    <a:pt x="1265" y="204"/>
                    <a:pt x="1265" y="204"/>
                    <a:pt x="1265" y="204"/>
                  </a:cubicBezTo>
                  <a:cubicBezTo>
                    <a:pt x="1264" y="210"/>
                    <a:pt x="1264" y="210"/>
                    <a:pt x="1264" y="210"/>
                  </a:cubicBezTo>
                  <a:cubicBezTo>
                    <a:pt x="1269" y="215"/>
                    <a:pt x="1269" y="215"/>
                    <a:pt x="1269" y="215"/>
                  </a:cubicBezTo>
                  <a:cubicBezTo>
                    <a:pt x="1263" y="218"/>
                    <a:pt x="1263" y="218"/>
                    <a:pt x="1263" y="218"/>
                  </a:cubicBezTo>
                  <a:cubicBezTo>
                    <a:pt x="1259" y="222"/>
                    <a:pt x="1259" y="222"/>
                    <a:pt x="1259" y="222"/>
                  </a:cubicBezTo>
                  <a:cubicBezTo>
                    <a:pt x="1271" y="224"/>
                    <a:pt x="1271" y="224"/>
                    <a:pt x="1271" y="224"/>
                  </a:cubicBezTo>
                  <a:cubicBezTo>
                    <a:pt x="1271" y="233"/>
                    <a:pt x="1271" y="233"/>
                    <a:pt x="1271" y="233"/>
                  </a:cubicBezTo>
                  <a:cubicBezTo>
                    <a:pt x="1280" y="242"/>
                    <a:pt x="1280" y="242"/>
                    <a:pt x="1280" y="242"/>
                  </a:cubicBezTo>
                  <a:cubicBezTo>
                    <a:pt x="1294" y="238"/>
                    <a:pt x="1294" y="238"/>
                    <a:pt x="1294" y="238"/>
                  </a:cubicBezTo>
                  <a:cubicBezTo>
                    <a:pt x="1304" y="238"/>
                    <a:pt x="1304" y="238"/>
                    <a:pt x="1304" y="238"/>
                  </a:cubicBezTo>
                  <a:cubicBezTo>
                    <a:pt x="1305" y="250"/>
                    <a:pt x="1305" y="250"/>
                    <a:pt x="1305" y="250"/>
                  </a:cubicBezTo>
                  <a:cubicBezTo>
                    <a:pt x="1311" y="244"/>
                    <a:pt x="1311" y="244"/>
                    <a:pt x="1311" y="244"/>
                  </a:cubicBezTo>
                  <a:cubicBezTo>
                    <a:pt x="1321" y="255"/>
                    <a:pt x="1321" y="255"/>
                    <a:pt x="1321" y="255"/>
                  </a:cubicBezTo>
                  <a:cubicBezTo>
                    <a:pt x="1332" y="266"/>
                    <a:pt x="1332" y="266"/>
                    <a:pt x="1332" y="266"/>
                  </a:cubicBezTo>
                  <a:cubicBezTo>
                    <a:pt x="1338" y="285"/>
                    <a:pt x="1338" y="285"/>
                    <a:pt x="1338" y="285"/>
                  </a:cubicBezTo>
                  <a:cubicBezTo>
                    <a:pt x="1340" y="300"/>
                    <a:pt x="1340" y="300"/>
                    <a:pt x="1340" y="300"/>
                  </a:cubicBezTo>
                  <a:cubicBezTo>
                    <a:pt x="1330" y="318"/>
                    <a:pt x="1330" y="318"/>
                    <a:pt x="1330" y="318"/>
                  </a:cubicBezTo>
                  <a:cubicBezTo>
                    <a:pt x="1320" y="318"/>
                    <a:pt x="1320" y="318"/>
                    <a:pt x="1320" y="318"/>
                  </a:cubicBezTo>
                  <a:cubicBezTo>
                    <a:pt x="1306" y="324"/>
                    <a:pt x="1306" y="324"/>
                    <a:pt x="1306" y="324"/>
                  </a:cubicBezTo>
                  <a:cubicBezTo>
                    <a:pt x="1301" y="334"/>
                    <a:pt x="1301" y="334"/>
                    <a:pt x="1301" y="334"/>
                  </a:cubicBezTo>
                  <a:cubicBezTo>
                    <a:pt x="1312" y="330"/>
                    <a:pt x="1312" y="330"/>
                    <a:pt x="1312" y="330"/>
                  </a:cubicBezTo>
                  <a:cubicBezTo>
                    <a:pt x="1320" y="330"/>
                    <a:pt x="1320" y="330"/>
                    <a:pt x="1320" y="330"/>
                  </a:cubicBezTo>
                  <a:cubicBezTo>
                    <a:pt x="1309" y="342"/>
                    <a:pt x="1309" y="342"/>
                    <a:pt x="1309" y="342"/>
                  </a:cubicBezTo>
                  <a:cubicBezTo>
                    <a:pt x="1316" y="349"/>
                    <a:pt x="1316" y="349"/>
                    <a:pt x="1316" y="349"/>
                  </a:cubicBezTo>
                  <a:cubicBezTo>
                    <a:pt x="1324" y="346"/>
                    <a:pt x="1324" y="346"/>
                    <a:pt x="1324" y="346"/>
                  </a:cubicBezTo>
                  <a:cubicBezTo>
                    <a:pt x="1324" y="333"/>
                    <a:pt x="1324" y="333"/>
                    <a:pt x="1324" y="333"/>
                  </a:cubicBezTo>
                  <a:cubicBezTo>
                    <a:pt x="1332" y="327"/>
                    <a:pt x="1332" y="327"/>
                    <a:pt x="1332" y="327"/>
                  </a:cubicBezTo>
                  <a:cubicBezTo>
                    <a:pt x="1347" y="327"/>
                    <a:pt x="1347" y="327"/>
                    <a:pt x="1347" y="327"/>
                  </a:cubicBezTo>
                  <a:cubicBezTo>
                    <a:pt x="1355" y="318"/>
                    <a:pt x="1355" y="318"/>
                    <a:pt x="1355" y="318"/>
                  </a:cubicBezTo>
                  <a:cubicBezTo>
                    <a:pt x="1359" y="312"/>
                    <a:pt x="1359" y="312"/>
                    <a:pt x="1359" y="312"/>
                  </a:cubicBezTo>
                  <a:cubicBezTo>
                    <a:pt x="1369" y="312"/>
                    <a:pt x="1369" y="312"/>
                    <a:pt x="1369" y="312"/>
                  </a:cubicBezTo>
                  <a:cubicBezTo>
                    <a:pt x="1377" y="311"/>
                    <a:pt x="1377" y="311"/>
                    <a:pt x="1377" y="311"/>
                  </a:cubicBezTo>
                  <a:cubicBezTo>
                    <a:pt x="1392" y="310"/>
                    <a:pt x="1392" y="310"/>
                    <a:pt x="1392" y="310"/>
                  </a:cubicBezTo>
                  <a:cubicBezTo>
                    <a:pt x="1392" y="320"/>
                    <a:pt x="1392" y="320"/>
                    <a:pt x="1392" y="320"/>
                  </a:cubicBezTo>
                  <a:cubicBezTo>
                    <a:pt x="1404" y="320"/>
                    <a:pt x="1404" y="320"/>
                    <a:pt x="1404" y="320"/>
                  </a:cubicBezTo>
                  <a:cubicBezTo>
                    <a:pt x="1407" y="313"/>
                    <a:pt x="1407" y="313"/>
                    <a:pt x="1407" y="313"/>
                  </a:cubicBezTo>
                  <a:cubicBezTo>
                    <a:pt x="1419" y="313"/>
                    <a:pt x="1419" y="313"/>
                    <a:pt x="1419" y="313"/>
                  </a:cubicBezTo>
                  <a:cubicBezTo>
                    <a:pt x="1426" y="306"/>
                    <a:pt x="1426" y="306"/>
                    <a:pt x="1426" y="306"/>
                  </a:cubicBezTo>
                  <a:cubicBezTo>
                    <a:pt x="1434" y="305"/>
                    <a:pt x="1434" y="305"/>
                    <a:pt x="1434" y="305"/>
                  </a:cubicBezTo>
                  <a:cubicBezTo>
                    <a:pt x="1442" y="311"/>
                    <a:pt x="1442" y="311"/>
                    <a:pt x="1442" y="311"/>
                  </a:cubicBezTo>
                  <a:cubicBezTo>
                    <a:pt x="1452" y="303"/>
                    <a:pt x="1452" y="303"/>
                    <a:pt x="1452" y="303"/>
                  </a:cubicBezTo>
                  <a:cubicBezTo>
                    <a:pt x="1457" y="315"/>
                    <a:pt x="1457" y="315"/>
                    <a:pt x="1457" y="315"/>
                  </a:cubicBezTo>
                  <a:cubicBezTo>
                    <a:pt x="1467" y="324"/>
                    <a:pt x="1467" y="324"/>
                    <a:pt x="1467" y="324"/>
                  </a:cubicBezTo>
                  <a:cubicBezTo>
                    <a:pt x="1467" y="338"/>
                    <a:pt x="1467" y="338"/>
                    <a:pt x="1467" y="338"/>
                  </a:cubicBezTo>
                  <a:cubicBezTo>
                    <a:pt x="1454" y="344"/>
                    <a:pt x="1454" y="344"/>
                    <a:pt x="1454" y="344"/>
                  </a:cubicBezTo>
                  <a:cubicBezTo>
                    <a:pt x="1445" y="362"/>
                    <a:pt x="1445" y="362"/>
                    <a:pt x="1445" y="362"/>
                  </a:cubicBezTo>
                  <a:cubicBezTo>
                    <a:pt x="1431" y="362"/>
                    <a:pt x="1431" y="362"/>
                    <a:pt x="1431" y="362"/>
                  </a:cubicBezTo>
                  <a:cubicBezTo>
                    <a:pt x="1427" y="368"/>
                    <a:pt x="1427" y="368"/>
                    <a:pt x="1427" y="368"/>
                  </a:cubicBezTo>
                  <a:cubicBezTo>
                    <a:pt x="1443" y="379"/>
                    <a:pt x="1443" y="379"/>
                    <a:pt x="1443" y="379"/>
                  </a:cubicBezTo>
                  <a:cubicBezTo>
                    <a:pt x="1438" y="384"/>
                    <a:pt x="1438" y="384"/>
                    <a:pt x="1438" y="384"/>
                  </a:cubicBezTo>
                  <a:cubicBezTo>
                    <a:pt x="1449" y="401"/>
                    <a:pt x="1449" y="401"/>
                    <a:pt x="1449" y="401"/>
                  </a:cubicBezTo>
                  <a:cubicBezTo>
                    <a:pt x="1454" y="422"/>
                    <a:pt x="1454" y="422"/>
                    <a:pt x="1454" y="422"/>
                  </a:cubicBezTo>
                  <a:cubicBezTo>
                    <a:pt x="1454" y="446"/>
                    <a:pt x="1454" y="446"/>
                    <a:pt x="1454" y="446"/>
                  </a:cubicBezTo>
                  <a:cubicBezTo>
                    <a:pt x="1458" y="465"/>
                    <a:pt x="1458" y="465"/>
                    <a:pt x="1458" y="465"/>
                  </a:cubicBezTo>
                  <a:cubicBezTo>
                    <a:pt x="1464" y="481"/>
                    <a:pt x="1464" y="481"/>
                    <a:pt x="1464" y="481"/>
                  </a:cubicBezTo>
                  <a:cubicBezTo>
                    <a:pt x="1468" y="502"/>
                    <a:pt x="1468" y="502"/>
                    <a:pt x="1468" y="502"/>
                  </a:cubicBezTo>
                  <a:cubicBezTo>
                    <a:pt x="1474" y="523"/>
                    <a:pt x="1474" y="523"/>
                    <a:pt x="1474" y="523"/>
                  </a:cubicBezTo>
                  <a:cubicBezTo>
                    <a:pt x="1487" y="534"/>
                    <a:pt x="1487" y="534"/>
                    <a:pt x="1487" y="534"/>
                  </a:cubicBezTo>
                  <a:cubicBezTo>
                    <a:pt x="1487" y="554"/>
                    <a:pt x="1487" y="554"/>
                    <a:pt x="1487" y="554"/>
                  </a:cubicBezTo>
                  <a:cubicBezTo>
                    <a:pt x="1494" y="580"/>
                    <a:pt x="1494" y="580"/>
                    <a:pt x="1494" y="580"/>
                  </a:cubicBezTo>
                  <a:cubicBezTo>
                    <a:pt x="1505" y="593"/>
                    <a:pt x="1505" y="593"/>
                    <a:pt x="1505" y="593"/>
                  </a:cubicBezTo>
                  <a:cubicBezTo>
                    <a:pt x="1512" y="600"/>
                    <a:pt x="1512" y="600"/>
                    <a:pt x="1512" y="600"/>
                  </a:cubicBezTo>
                  <a:cubicBezTo>
                    <a:pt x="1501" y="610"/>
                    <a:pt x="1501" y="610"/>
                    <a:pt x="1501" y="610"/>
                  </a:cubicBezTo>
                  <a:cubicBezTo>
                    <a:pt x="1489" y="604"/>
                    <a:pt x="1489" y="604"/>
                    <a:pt x="1489" y="604"/>
                  </a:cubicBezTo>
                  <a:cubicBezTo>
                    <a:pt x="1472" y="610"/>
                    <a:pt x="1472" y="610"/>
                    <a:pt x="1472" y="610"/>
                  </a:cubicBezTo>
                  <a:cubicBezTo>
                    <a:pt x="1464" y="630"/>
                    <a:pt x="1464" y="630"/>
                    <a:pt x="1464" y="630"/>
                  </a:cubicBezTo>
                  <a:cubicBezTo>
                    <a:pt x="1450" y="650"/>
                    <a:pt x="1450" y="650"/>
                    <a:pt x="1450" y="650"/>
                  </a:cubicBezTo>
                  <a:cubicBezTo>
                    <a:pt x="1457" y="657"/>
                    <a:pt x="1457" y="657"/>
                    <a:pt x="1457" y="657"/>
                  </a:cubicBezTo>
                  <a:cubicBezTo>
                    <a:pt x="1452" y="676"/>
                    <a:pt x="1452" y="676"/>
                    <a:pt x="1452" y="676"/>
                  </a:cubicBezTo>
                  <a:cubicBezTo>
                    <a:pt x="1452" y="686"/>
                    <a:pt x="1452" y="686"/>
                    <a:pt x="1452" y="686"/>
                  </a:cubicBezTo>
                  <a:cubicBezTo>
                    <a:pt x="1463" y="703"/>
                    <a:pt x="1463" y="703"/>
                    <a:pt x="1463" y="703"/>
                  </a:cubicBezTo>
                  <a:cubicBezTo>
                    <a:pt x="1463" y="714"/>
                    <a:pt x="1463" y="714"/>
                    <a:pt x="1463" y="714"/>
                  </a:cubicBezTo>
                  <a:cubicBezTo>
                    <a:pt x="1450" y="708"/>
                    <a:pt x="1450" y="708"/>
                    <a:pt x="1450" y="708"/>
                  </a:cubicBezTo>
                  <a:cubicBezTo>
                    <a:pt x="1441" y="698"/>
                    <a:pt x="1441" y="698"/>
                    <a:pt x="1441" y="698"/>
                  </a:cubicBezTo>
                  <a:cubicBezTo>
                    <a:pt x="1433" y="699"/>
                    <a:pt x="1433" y="699"/>
                    <a:pt x="1433" y="699"/>
                  </a:cubicBezTo>
                  <a:cubicBezTo>
                    <a:pt x="1440" y="718"/>
                    <a:pt x="1440" y="718"/>
                    <a:pt x="1440" y="718"/>
                  </a:cubicBezTo>
                  <a:cubicBezTo>
                    <a:pt x="1440" y="731"/>
                    <a:pt x="1440" y="731"/>
                    <a:pt x="1440" y="731"/>
                  </a:cubicBezTo>
                  <a:cubicBezTo>
                    <a:pt x="1453" y="737"/>
                    <a:pt x="1453" y="737"/>
                    <a:pt x="1453" y="737"/>
                  </a:cubicBezTo>
                  <a:cubicBezTo>
                    <a:pt x="1440" y="749"/>
                    <a:pt x="1440" y="749"/>
                    <a:pt x="1440" y="749"/>
                  </a:cubicBezTo>
                  <a:cubicBezTo>
                    <a:pt x="1432" y="749"/>
                    <a:pt x="1432" y="749"/>
                    <a:pt x="1432" y="749"/>
                  </a:cubicBezTo>
                  <a:cubicBezTo>
                    <a:pt x="1432" y="766"/>
                    <a:pt x="1432" y="766"/>
                    <a:pt x="1432" y="766"/>
                  </a:cubicBezTo>
                  <a:cubicBezTo>
                    <a:pt x="1425" y="774"/>
                    <a:pt x="1425" y="774"/>
                    <a:pt x="1425" y="774"/>
                  </a:cubicBezTo>
                  <a:cubicBezTo>
                    <a:pt x="1435" y="790"/>
                    <a:pt x="1435" y="790"/>
                    <a:pt x="1435" y="790"/>
                  </a:cubicBezTo>
                  <a:cubicBezTo>
                    <a:pt x="1443" y="798"/>
                    <a:pt x="1443" y="798"/>
                    <a:pt x="1443" y="798"/>
                  </a:cubicBezTo>
                  <a:cubicBezTo>
                    <a:pt x="1452" y="808"/>
                    <a:pt x="1452" y="808"/>
                    <a:pt x="1452" y="808"/>
                  </a:cubicBezTo>
                  <a:cubicBezTo>
                    <a:pt x="1465" y="820"/>
                    <a:pt x="1465" y="820"/>
                    <a:pt x="1465" y="820"/>
                  </a:cubicBezTo>
                  <a:cubicBezTo>
                    <a:pt x="1468" y="839"/>
                    <a:pt x="1468" y="839"/>
                    <a:pt x="1468" y="839"/>
                  </a:cubicBezTo>
                  <a:cubicBezTo>
                    <a:pt x="1470" y="854"/>
                    <a:pt x="1470" y="854"/>
                    <a:pt x="1470" y="854"/>
                  </a:cubicBezTo>
                  <a:cubicBezTo>
                    <a:pt x="1488" y="863"/>
                    <a:pt x="1488" y="863"/>
                    <a:pt x="1488" y="863"/>
                  </a:cubicBezTo>
                  <a:cubicBezTo>
                    <a:pt x="1499" y="874"/>
                    <a:pt x="1499" y="874"/>
                    <a:pt x="1499" y="874"/>
                  </a:cubicBezTo>
                  <a:cubicBezTo>
                    <a:pt x="1518" y="874"/>
                    <a:pt x="1518" y="874"/>
                    <a:pt x="1518" y="874"/>
                  </a:cubicBezTo>
                  <a:cubicBezTo>
                    <a:pt x="1513" y="863"/>
                    <a:pt x="1513" y="863"/>
                    <a:pt x="1513" y="863"/>
                  </a:cubicBezTo>
                  <a:cubicBezTo>
                    <a:pt x="1513" y="857"/>
                    <a:pt x="1513" y="857"/>
                    <a:pt x="1513" y="857"/>
                  </a:cubicBezTo>
                  <a:cubicBezTo>
                    <a:pt x="1519" y="851"/>
                    <a:pt x="1519" y="851"/>
                    <a:pt x="1519" y="851"/>
                  </a:cubicBezTo>
                  <a:cubicBezTo>
                    <a:pt x="1524" y="841"/>
                    <a:pt x="1524" y="841"/>
                    <a:pt x="1524" y="841"/>
                  </a:cubicBezTo>
                  <a:cubicBezTo>
                    <a:pt x="1541" y="858"/>
                    <a:pt x="1541" y="858"/>
                    <a:pt x="1541" y="858"/>
                  </a:cubicBezTo>
                  <a:cubicBezTo>
                    <a:pt x="1544" y="874"/>
                    <a:pt x="1544" y="874"/>
                    <a:pt x="1544" y="874"/>
                  </a:cubicBezTo>
                  <a:cubicBezTo>
                    <a:pt x="1562" y="886"/>
                    <a:pt x="1562" y="886"/>
                    <a:pt x="1562" y="886"/>
                  </a:cubicBezTo>
                  <a:cubicBezTo>
                    <a:pt x="1579" y="890"/>
                    <a:pt x="1579" y="890"/>
                    <a:pt x="1579" y="890"/>
                  </a:cubicBezTo>
                  <a:cubicBezTo>
                    <a:pt x="1586" y="883"/>
                    <a:pt x="1586" y="883"/>
                    <a:pt x="1586" y="883"/>
                  </a:cubicBezTo>
                  <a:cubicBezTo>
                    <a:pt x="1597" y="883"/>
                    <a:pt x="1597" y="883"/>
                    <a:pt x="1597" y="883"/>
                  </a:cubicBezTo>
                  <a:cubicBezTo>
                    <a:pt x="1610" y="896"/>
                    <a:pt x="1610" y="896"/>
                    <a:pt x="1610" y="896"/>
                  </a:cubicBezTo>
                  <a:cubicBezTo>
                    <a:pt x="1604" y="908"/>
                    <a:pt x="1604" y="908"/>
                    <a:pt x="1604" y="908"/>
                  </a:cubicBezTo>
                  <a:cubicBezTo>
                    <a:pt x="1591" y="912"/>
                    <a:pt x="1591" y="912"/>
                    <a:pt x="1591" y="912"/>
                  </a:cubicBezTo>
                  <a:cubicBezTo>
                    <a:pt x="1595" y="928"/>
                    <a:pt x="1595" y="928"/>
                    <a:pt x="1595" y="928"/>
                  </a:cubicBezTo>
                  <a:cubicBezTo>
                    <a:pt x="1609" y="952"/>
                    <a:pt x="1609" y="952"/>
                    <a:pt x="1609" y="952"/>
                  </a:cubicBezTo>
                  <a:cubicBezTo>
                    <a:pt x="1621" y="955"/>
                    <a:pt x="1621" y="955"/>
                    <a:pt x="1621" y="955"/>
                  </a:cubicBezTo>
                  <a:cubicBezTo>
                    <a:pt x="1631" y="964"/>
                    <a:pt x="1631" y="964"/>
                    <a:pt x="1631" y="964"/>
                  </a:cubicBezTo>
                  <a:cubicBezTo>
                    <a:pt x="1654" y="962"/>
                    <a:pt x="1654" y="962"/>
                    <a:pt x="1654" y="962"/>
                  </a:cubicBezTo>
                  <a:cubicBezTo>
                    <a:pt x="1667" y="972"/>
                    <a:pt x="1667" y="972"/>
                    <a:pt x="1667" y="972"/>
                  </a:cubicBezTo>
                  <a:cubicBezTo>
                    <a:pt x="1672" y="984"/>
                    <a:pt x="1672" y="984"/>
                    <a:pt x="1672" y="984"/>
                  </a:cubicBezTo>
                  <a:cubicBezTo>
                    <a:pt x="1664" y="990"/>
                    <a:pt x="1664" y="990"/>
                    <a:pt x="1664" y="990"/>
                  </a:cubicBezTo>
                  <a:cubicBezTo>
                    <a:pt x="1652" y="997"/>
                    <a:pt x="1652" y="997"/>
                    <a:pt x="1652" y="997"/>
                  </a:cubicBezTo>
                  <a:cubicBezTo>
                    <a:pt x="1646" y="1012"/>
                    <a:pt x="1646" y="1012"/>
                    <a:pt x="1646" y="1012"/>
                  </a:cubicBezTo>
                  <a:cubicBezTo>
                    <a:pt x="1650" y="1038"/>
                    <a:pt x="1650" y="1038"/>
                    <a:pt x="1650" y="1038"/>
                  </a:cubicBezTo>
                  <a:cubicBezTo>
                    <a:pt x="1664" y="1059"/>
                    <a:pt x="1664" y="1059"/>
                    <a:pt x="1664" y="1059"/>
                  </a:cubicBezTo>
                  <a:cubicBezTo>
                    <a:pt x="1675" y="1063"/>
                    <a:pt x="1675" y="1063"/>
                    <a:pt x="1675" y="1063"/>
                  </a:cubicBezTo>
                  <a:cubicBezTo>
                    <a:pt x="1681" y="1069"/>
                    <a:pt x="1681" y="1069"/>
                    <a:pt x="1681" y="1069"/>
                  </a:cubicBezTo>
                  <a:cubicBezTo>
                    <a:pt x="1700" y="1074"/>
                    <a:pt x="1700" y="1074"/>
                    <a:pt x="1700" y="1074"/>
                  </a:cubicBezTo>
                  <a:cubicBezTo>
                    <a:pt x="1700" y="1082"/>
                    <a:pt x="1700" y="1082"/>
                    <a:pt x="1700" y="1082"/>
                  </a:cubicBezTo>
                  <a:cubicBezTo>
                    <a:pt x="1686" y="1084"/>
                    <a:pt x="1686" y="1084"/>
                    <a:pt x="1686" y="1084"/>
                  </a:cubicBezTo>
                  <a:cubicBezTo>
                    <a:pt x="1686" y="1096"/>
                    <a:pt x="1686" y="1096"/>
                    <a:pt x="1686" y="1096"/>
                  </a:cubicBezTo>
                  <a:cubicBezTo>
                    <a:pt x="1680" y="1108"/>
                    <a:pt x="1680" y="1108"/>
                    <a:pt x="1680" y="1108"/>
                  </a:cubicBezTo>
                  <a:cubicBezTo>
                    <a:pt x="1687" y="1132"/>
                    <a:pt x="1687" y="1132"/>
                    <a:pt x="1687" y="1132"/>
                  </a:cubicBezTo>
                  <a:cubicBezTo>
                    <a:pt x="1698" y="1136"/>
                    <a:pt x="1698" y="1136"/>
                    <a:pt x="1698" y="1136"/>
                  </a:cubicBezTo>
                  <a:cubicBezTo>
                    <a:pt x="1716" y="1154"/>
                    <a:pt x="1716" y="1154"/>
                    <a:pt x="1716" y="1154"/>
                  </a:cubicBezTo>
                  <a:cubicBezTo>
                    <a:pt x="1728" y="1166"/>
                    <a:pt x="1728" y="1166"/>
                    <a:pt x="1728" y="1166"/>
                  </a:cubicBezTo>
                  <a:cubicBezTo>
                    <a:pt x="1731" y="1187"/>
                    <a:pt x="1731" y="1187"/>
                    <a:pt x="1731" y="1187"/>
                  </a:cubicBezTo>
                  <a:cubicBezTo>
                    <a:pt x="1738" y="1215"/>
                    <a:pt x="1738" y="1215"/>
                    <a:pt x="1738" y="1215"/>
                  </a:cubicBezTo>
                  <a:cubicBezTo>
                    <a:pt x="1741" y="1233"/>
                    <a:pt x="1741" y="1233"/>
                    <a:pt x="1741" y="1233"/>
                  </a:cubicBezTo>
                  <a:cubicBezTo>
                    <a:pt x="1741" y="1246"/>
                    <a:pt x="1741" y="1246"/>
                    <a:pt x="1741" y="1246"/>
                  </a:cubicBezTo>
                  <a:cubicBezTo>
                    <a:pt x="1734" y="1236"/>
                    <a:pt x="1734" y="1236"/>
                    <a:pt x="1734" y="1236"/>
                  </a:cubicBezTo>
                  <a:cubicBezTo>
                    <a:pt x="1714" y="1236"/>
                    <a:pt x="1714" y="1236"/>
                    <a:pt x="1714" y="1236"/>
                  </a:cubicBezTo>
                  <a:cubicBezTo>
                    <a:pt x="1702" y="1230"/>
                    <a:pt x="1702" y="1230"/>
                    <a:pt x="1702" y="1230"/>
                  </a:cubicBezTo>
                  <a:cubicBezTo>
                    <a:pt x="1692" y="1220"/>
                    <a:pt x="1692" y="1220"/>
                    <a:pt x="1692" y="1220"/>
                  </a:cubicBezTo>
                  <a:cubicBezTo>
                    <a:pt x="1679" y="1220"/>
                    <a:pt x="1679" y="1220"/>
                    <a:pt x="1679" y="1220"/>
                  </a:cubicBezTo>
                  <a:cubicBezTo>
                    <a:pt x="1667" y="1208"/>
                    <a:pt x="1667" y="1208"/>
                    <a:pt x="1667" y="1208"/>
                  </a:cubicBezTo>
                  <a:cubicBezTo>
                    <a:pt x="1644" y="1198"/>
                    <a:pt x="1644" y="1198"/>
                    <a:pt x="1644" y="1198"/>
                  </a:cubicBezTo>
                  <a:cubicBezTo>
                    <a:pt x="1622" y="1188"/>
                    <a:pt x="1622" y="1188"/>
                    <a:pt x="1622" y="1188"/>
                  </a:cubicBezTo>
                  <a:cubicBezTo>
                    <a:pt x="1596" y="1175"/>
                    <a:pt x="1596" y="1175"/>
                    <a:pt x="1596" y="1175"/>
                  </a:cubicBezTo>
                  <a:cubicBezTo>
                    <a:pt x="1589" y="1165"/>
                    <a:pt x="1589" y="1165"/>
                    <a:pt x="1589" y="1165"/>
                  </a:cubicBezTo>
                  <a:cubicBezTo>
                    <a:pt x="1577" y="1157"/>
                    <a:pt x="1577" y="1157"/>
                    <a:pt x="1577" y="1157"/>
                  </a:cubicBezTo>
                  <a:cubicBezTo>
                    <a:pt x="1564" y="1154"/>
                    <a:pt x="1564" y="1154"/>
                    <a:pt x="1564" y="1154"/>
                  </a:cubicBezTo>
                  <a:cubicBezTo>
                    <a:pt x="1535" y="1146"/>
                    <a:pt x="1535" y="1146"/>
                    <a:pt x="1535" y="1146"/>
                  </a:cubicBezTo>
                  <a:cubicBezTo>
                    <a:pt x="1516" y="1136"/>
                    <a:pt x="1516" y="1136"/>
                    <a:pt x="1516" y="1136"/>
                  </a:cubicBezTo>
                  <a:cubicBezTo>
                    <a:pt x="1498" y="1124"/>
                    <a:pt x="1498" y="1124"/>
                    <a:pt x="1498" y="1124"/>
                  </a:cubicBezTo>
                  <a:cubicBezTo>
                    <a:pt x="1495" y="1121"/>
                    <a:pt x="1490" y="1108"/>
                    <a:pt x="1490" y="1108"/>
                  </a:cubicBezTo>
                  <a:cubicBezTo>
                    <a:pt x="1470" y="1088"/>
                    <a:pt x="1470" y="1088"/>
                    <a:pt x="1470" y="1088"/>
                  </a:cubicBezTo>
                  <a:cubicBezTo>
                    <a:pt x="1457" y="1074"/>
                    <a:pt x="1457" y="1074"/>
                    <a:pt x="1457" y="1074"/>
                  </a:cubicBezTo>
                  <a:cubicBezTo>
                    <a:pt x="1457" y="1060"/>
                    <a:pt x="1457" y="1060"/>
                    <a:pt x="1457" y="1060"/>
                  </a:cubicBezTo>
                  <a:cubicBezTo>
                    <a:pt x="1448" y="1051"/>
                    <a:pt x="1448" y="1051"/>
                    <a:pt x="1448" y="1051"/>
                  </a:cubicBezTo>
                  <a:cubicBezTo>
                    <a:pt x="1446" y="1036"/>
                    <a:pt x="1446" y="1036"/>
                    <a:pt x="1446" y="1036"/>
                  </a:cubicBezTo>
                  <a:cubicBezTo>
                    <a:pt x="1434" y="1020"/>
                    <a:pt x="1434" y="1020"/>
                    <a:pt x="1434" y="1020"/>
                  </a:cubicBezTo>
                  <a:cubicBezTo>
                    <a:pt x="1422" y="1017"/>
                    <a:pt x="1422" y="1017"/>
                    <a:pt x="1422" y="1017"/>
                  </a:cubicBezTo>
                  <a:cubicBezTo>
                    <a:pt x="1422" y="1011"/>
                    <a:pt x="1422" y="1011"/>
                    <a:pt x="1422" y="1011"/>
                  </a:cubicBezTo>
                  <a:cubicBezTo>
                    <a:pt x="1428" y="1006"/>
                    <a:pt x="1428" y="1006"/>
                    <a:pt x="1428" y="1006"/>
                  </a:cubicBezTo>
                  <a:cubicBezTo>
                    <a:pt x="1432" y="996"/>
                    <a:pt x="1432" y="996"/>
                    <a:pt x="1432" y="996"/>
                  </a:cubicBezTo>
                  <a:cubicBezTo>
                    <a:pt x="1426" y="985"/>
                    <a:pt x="1426" y="985"/>
                    <a:pt x="1426" y="985"/>
                  </a:cubicBezTo>
                  <a:cubicBezTo>
                    <a:pt x="1432" y="979"/>
                    <a:pt x="1432" y="979"/>
                    <a:pt x="1432" y="979"/>
                  </a:cubicBezTo>
                  <a:cubicBezTo>
                    <a:pt x="1437" y="974"/>
                    <a:pt x="1437" y="974"/>
                    <a:pt x="1437" y="974"/>
                  </a:cubicBezTo>
                  <a:cubicBezTo>
                    <a:pt x="1430" y="954"/>
                    <a:pt x="1430" y="954"/>
                    <a:pt x="1430" y="954"/>
                  </a:cubicBezTo>
                  <a:cubicBezTo>
                    <a:pt x="1427" y="932"/>
                    <a:pt x="1427" y="932"/>
                    <a:pt x="1427" y="932"/>
                  </a:cubicBezTo>
                  <a:cubicBezTo>
                    <a:pt x="1419" y="908"/>
                    <a:pt x="1419" y="908"/>
                    <a:pt x="1419" y="908"/>
                  </a:cubicBezTo>
                  <a:cubicBezTo>
                    <a:pt x="1406" y="891"/>
                    <a:pt x="1406" y="891"/>
                    <a:pt x="1406" y="891"/>
                  </a:cubicBezTo>
                  <a:cubicBezTo>
                    <a:pt x="1401" y="869"/>
                    <a:pt x="1401" y="869"/>
                    <a:pt x="1401" y="869"/>
                  </a:cubicBezTo>
                  <a:cubicBezTo>
                    <a:pt x="1395" y="848"/>
                    <a:pt x="1395" y="848"/>
                    <a:pt x="1395" y="848"/>
                  </a:cubicBezTo>
                  <a:cubicBezTo>
                    <a:pt x="1388" y="832"/>
                    <a:pt x="1388" y="832"/>
                    <a:pt x="1388" y="832"/>
                  </a:cubicBezTo>
                  <a:cubicBezTo>
                    <a:pt x="1380" y="807"/>
                    <a:pt x="1380" y="807"/>
                    <a:pt x="1380" y="807"/>
                  </a:cubicBezTo>
                  <a:cubicBezTo>
                    <a:pt x="1372" y="800"/>
                    <a:pt x="1372" y="800"/>
                    <a:pt x="1372" y="800"/>
                  </a:cubicBezTo>
                  <a:cubicBezTo>
                    <a:pt x="1372" y="787"/>
                    <a:pt x="1372" y="787"/>
                    <a:pt x="1372" y="787"/>
                  </a:cubicBezTo>
                  <a:cubicBezTo>
                    <a:pt x="1376" y="771"/>
                    <a:pt x="1376" y="771"/>
                    <a:pt x="1376" y="771"/>
                  </a:cubicBezTo>
                  <a:cubicBezTo>
                    <a:pt x="1376" y="762"/>
                    <a:pt x="1376" y="762"/>
                    <a:pt x="1376" y="762"/>
                  </a:cubicBezTo>
                  <a:cubicBezTo>
                    <a:pt x="1376" y="750"/>
                    <a:pt x="1376" y="750"/>
                    <a:pt x="1376" y="750"/>
                  </a:cubicBezTo>
                  <a:cubicBezTo>
                    <a:pt x="1368" y="742"/>
                    <a:pt x="1368" y="742"/>
                    <a:pt x="1368" y="742"/>
                  </a:cubicBezTo>
                  <a:cubicBezTo>
                    <a:pt x="1360" y="726"/>
                    <a:pt x="1360" y="726"/>
                    <a:pt x="1360" y="726"/>
                  </a:cubicBezTo>
                  <a:cubicBezTo>
                    <a:pt x="1351" y="726"/>
                    <a:pt x="1351" y="726"/>
                    <a:pt x="1351" y="726"/>
                  </a:cubicBezTo>
                  <a:cubicBezTo>
                    <a:pt x="1343" y="723"/>
                    <a:pt x="1343" y="723"/>
                    <a:pt x="1343" y="723"/>
                  </a:cubicBezTo>
                  <a:cubicBezTo>
                    <a:pt x="1335" y="715"/>
                    <a:pt x="1335" y="715"/>
                    <a:pt x="1335" y="715"/>
                  </a:cubicBezTo>
                  <a:cubicBezTo>
                    <a:pt x="1326" y="703"/>
                    <a:pt x="1326" y="703"/>
                    <a:pt x="1326" y="703"/>
                  </a:cubicBezTo>
                  <a:cubicBezTo>
                    <a:pt x="1312" y="694"/>
                    <a:pt x="1312" y="694"/>
                    <a:pt x="1312" y="694"/>
                  </a:cubicBezTo>
                  <a:cubicBezTo>
                    <a:pt x="1312" y="679"/>
                    <a:pt x="1312" y="679"/>
                    <a:pt x="1312" y="679"/>
                  </a:cubicBezTo>
                  <a:cubicBezTo>
                    <a:pt x="1324" y="667"/>
                    <a:pt x="1324" y="667"/>
                    <a:pt x="1324" y="667"/>
                  </a:cubicBezTo>
                  <a:cubicBezTo>
                    <a:pt x="1320" y="663"/>
                    <a:pt x="1320" y="663"/>
                    <a:pt x="1320" y="663"/>
                  </a:cubicBezTo>
                  <a:cubicBezTo>
                    <a:pt x="1310" y="673"/>
                    <a:pt x="1310" y="673"/>
                    <a:pt x="1310" y="673"/>
                  </a:cubicBezTo>
                  <a:cubicBezTo>
                    <a:pt x="1295" y="681"/>
                    <a:pt x="1295" y="681"/>
                    <a:pt x="1295" y="681"/>
                  </a:cubicBezTo>
                  <a:cubicBezTo>
                    <a:pt x="1295" y="695"/>
                    <a:pt x="1295" y="695"/>
                    <a:pt x="1295" y="695"/>
                  </a:cubicBezTo>
                  <a:cubicBezTo>
                    <a:pt x="1291" y="706"/>
                    <a:pt x="1291" y="706"/>
                    <a:pt x="1291" y="706"/>
                  </a:cubicBezTo>
                  <a:cubicBezTo>
                    <a:pt x="1299" y="713"/>
                    <a:pt x="1299" y="713"/>
                    <a:pt x="1299" y="713"/>
                  </a:cubicBezTo>
                  <a:cubicBezTo>
                    <a:pt x="1311" y="725"/>
                    <a:pt x="1311" y="725"/>
                    <a:pt x="1311" y="725"/>
                  </a:cubicBezTo>
                  <a:cubicBezTo>
                    <a:pt x="1322" y="736"/>
                    <a:pt x="1322" y="736"/>
                    <a:pt x="1322" y="736"/>
                  </a:cubicBezTo>
                  <a:cubicBezTo>
                    <a:pt x="1335" y="736"/>
                    <a:pt x="1335" y="736"/>
                    <a:pt x="1335" y="736"/>
                  </a:cubicBezTo>
                  <a:cubicBezTo>
                    <a:pt x="1334" y="744"/>
                    <a:pt x="1334" y="744"/>
                    <a:pt x="1334" y="744"/>
                  </a:cubicBezTo>
                  <a:cubicBezTo>
                    <a:pt x="1328" y="744"/>
                    <a:pt x="1328" y="744"/>
                    <a:pt x="1328" y="744"/>
                  </a:cubicBezTo>
                  <a:cubicBezTo>
                    <a:pt x="1321" y="753"/>
                    <a:pt x="1321" y="753"/>
                    <a:pt x="1321" y="753"/>
                  </a:cubicBezTo>
                  <a:cubicBezTo>
                    <a:pt x="1330" y="761"/>
                    <a:pt x="1330" y="761"/>
                    <a:pt x="1330" y="761"/>
                  </a:cubicBezTo>
                  <a:cubicBezTo>
                    <a:pt x="1330" y="782"/>
                    <a:pt x="1330" y="782"/>
                    <a:pt x="1330" y="782"/>
                  </a:cubicBezTo>
                  <a:cubicBezTo>
                    <a:pt x="1336" y="798"/>
                    <a:pt x="1336" y="798"/>
                    <a:pt x="1336" y="798"/>
                  </a:cubicBezTo>
                  <a:cubicBezTo>
                    <a:pt x="1338" y="824"/>
                    <a:pt x="1338" y="824"/>
                    <a:pt x="1338" y="824"/>
                  </a:cubicBezTo>
                  <a:cubicBezTo>
                    <a:pt x="1333" y="839"/>
                    <a:pt x="1333" y="839"/>
                    <a:pt x="1333" y="839"/>
                  </a:cubicBezTo>
                  <a:cubicBezTo>
                    <a:pt x="1328" y="826"/>
                    <a:pt x="1328" y="826"/>
                    <a:pt x="1328" y="826"/>
                  </a:cubicBezTo>
                  <a:cubicBezTo>
                    <a:pt x="1316" y="820"/>
                    <a:pt x="1316" y="820"/>
                    <a:pt x="1316" y="820"/>
                  </a:cubicBezTo>
                  <a:cubicBezTo>
                    <a:pt x="1316" y="836"/>
                    <a:pt x="1316" y="836"/>
                    <a:pt x="1316" y="836"/>
                  </a:cubicBezTo>
                  <a:cubicBezTo>
                    <a:pt x="1306" y="826"/>
                    <a:pt x="1306" y="826"/>
                    <a:pt x="1306" y="826"/>
                  </a:cubicBezTo>
                  <a:cubicBezTo>
                    <a:pt x="1299" y="820"/>
                    <a:pt x="1299" y="820"/>
                    <a:pt x="1299" y="820"/>
                  </a:cubicBezTo>
                  <a:cubicBezTo>
                    <a:pt x="1294" y="808"/>
                    <a:pt x="1294" y="808"/>
                    <a:pt x="1294" y="808"/>
                  </a:cubicBezTo>
                  <a:cubicBezTo>
                    <a:pt x="1275" y="791"/>
                    <a:pt x="1275" y="791"/>
                    <a:pt x="1275" y="791"/>
                  </a:cubicBezTo>
                  <a:cubicBezTo>
                    <a:pt x="1280" y="806"/>
                    <a:pt x="1280" y="806"/>
                    <a:pt x="1280" y="806"/>
                  </a:cubicBezTo>
                  <a:cubicBezTo>
                    <a:pt x="1275" y="822"/>
                    <a:pt x="1275" y="822"/>
                    <a:pt x="1275" y="822"/>
                  </a:cubicBezTo>
                  <a:cubicBezTo>
                    <a:pt x="1257" y="822"/>
                    <a:pt x="1257" y="822"/>
                    <a:pt x="1257" y="822"/>
                  </a:cubicBezTo>
                  <a:cubicBezTo>
                    <a:pt x="1257" y="832"/>
                    <a:pt x="1257" y="832"/>
                    <a:pt x="1257" y="832"/>
                  </a:cubicBezTo>
                  <a:cubicBezTo>
                    <a:pt x="1251" y="854"/>
                    <a:pt x="1251" y="854"/>
                    <a:pt x="1251" y="854"/>
                  </a:cubicBezTo>
                  <a:cubicBezTo>
                    <a:pt x="1244" y="863"/>
                    <a:pt x="1244" y="863"/>
                    <a:pt x="1244" y="863"/>
                  </a:cubicBezTo>
                  <a:cubicBezTo>
                    <a:pt x="1244" y="892"/>
                    <a:pt x="1244" y="892"/>
                    <a:pt x="1244" y="892"/>
                  </a:cubicBezTo>
                  <a:cubicBezTo>
                    <a:pt x="1256" y="900"/>
                    <a:pt x="1256" y="900"/>
                    <a:pt x="1256" y="900"/>
                  </a:cubicBezTo>
                  <a:cubicBezTo>
                    <a:pt x="1254" y="919"/>
                    <a:pt x="1254" y="919"/>
                    <a:pt x="1254" y="919"/>
                  </a:cubicBezTo>
                  <a:cubicBezTo>
                    <a:pt x="1266" y="938"/>
                    <a:pt x="1266" y="938"/>
                    <a:pt x="1266" y="938"/>
                  </a:cubicBezTo>
                  <a:cubicBezTo>
                    <a:pt x="1266" y="958"/>
                    <a:pt x="1266" y="958"/>
                    <a:pt x="1266" y="958"/>
                  </a:cubicBezTo>
                  <a:cubicBezTo>
                    <a:pt x="1270" y="984"/>
                    <a:pt x="1270" y="984"/>
                    <a:pt x="1270" y="984"/>
                  </a:cubicBezTo>
                  <a:cubicBezTo>
                    <a:pt x="1281" y="995"/>
                    <a:pt x="1281" y="995"/>
                    <a:pt x="1281" y="995"/>
                  </a:cubicBezTo>
                  <a:cubicBezTo>
                    <a:pt x="1281" y="1007"/>
                    <a:pt x="1281" y="1007"/>
                    <a:pt x="1281" y="1007"/>
                  </a:cubicBezTo>
                  <a:cubicBezTo>
                    <a:pt x="1290" y="1016"/>
                    <a:pt x="1290" y="1016"/>
                    <a:pt x="1290" y="1016"/>
                  </a:cubicBezTo>
                  <a:cubicBezTo>
                    <a:pt x="1299" y="1015"/>
                    <a:pt x="1299" y="1015"/>
                    <a:pt x="1299" y="1015"/>
                  </a:cubicBezTo>
                  <a:cubicBezTo>
                    <a:pt x="1307" y="1008"/>
                    <a:pt x="1307" y="1008"/>
                    <a:pt x="1307" y="1008"/>
                  </a:cubicBezTo>
                  <a:cubicBezTo>
                    <a:pt x="1312" y="1002"/>
                    <a:pt x="1312" y="1002"/>
                    <a:pt x="1312" y="1002"/>
                  </a:cubicBezTo>
                  <a:cubicBezTo>
                    <a:pt x="1322" y="1002"/>
                    <a:pt x="1322" y="1002"/>
                    <a:pt x="1322" y="1002"/>
                  </a:cubicBezTo>
                  <a:cubicBezTo>
                    <a:pt x="1322" y="1015"/>
                    <a:pt x="1322" y="1015"/>
                    <a:pt x="1322" y="1015"/>
                  </a:cubicBezTo>
                  <a:cubicBezTo>
                    <a:pt x="1311" y="1018"/>
                    <a:pt x="1311" y="1018"/>
                    <a:pt x="1311" y="1018"/>
                  </a:cubicBezTo>
                  <a:cubicBezTo>
                    <a:pt x="1311" y="1036"/>
                    <a:pt x="1311" y="1036"/>
                    <a:pt x="1311" y="1036"/>
                  </a:cubicBezTo>
                  <a:cubicBezTo>
                    <a:pt x="1291" y="1040"/>
                    <a:pt x="1291" y="1040"/>
                    <a:pt x="1291" y="1040"/>
                  </a:cubicBezTo>
                  <a:cubicBezTo>
                    <a:pt x="1296" y="1063"/>
                    <a:pt x="1296" y="1063"/>
                    <a:pt x="1296" y="1063"/>
                  </a:cubicBezTo>
                  <a:cubicBezTo>
                    <a:pt x="1294" y="1073"/>
                    <a:pt x="1294" y="1073"/>
                    <a:pt x="1294" y="1073"/>
                  </a:cubicBezTo>
                  <a:cubicBezTo>
                    <a:pt x="1281" y="1078"/>
                    <a:pt x="1281" y="1078"/>
                    <a:pt x="1281" y="1078"/>
                  </a:cubicBezTo>
                  <a:cubicBezTo>
                    <a:pt x="1281" y="1092"/>
                    <a:pt x="1281" y="1092"/>
                    <a:pt x="1281" y="1092"/>
                  </a:cubicBezTo>
                  <a:cubicBezTo>
                    <a:pt x="1276" y="1105"/>
                    <a:pt x="1276" y="1105"/>
                    <a:pt x="1276" y="1105"/>
                  </a:cubicBezTo>
                  <a:cubicBezTo>
                    <a:pt x="1276" y="1105"/>
                    <a:pt x="1261" y="1109"/>
                    <a:pt x="1264" y="1106"/>
                  </a:cubicBezTo>
                  <a:cubicBezTo>
                    <a:pt x="1267" y="1103"/>
                    <a:pt x="1258" y="1100"/>
                    <a:pt x="1258" y="1100"/>
                  </a:cubicBezTo>
                  <a:cubicBezTo>
                    <a:pt x="1258" y="1091"/>
                    <a:pt x="1258" y="1091"/>
                    <a:pt x="1258" y="1091"/>
                  </a:cubicBezTo>
                  <a:cubicBezTo>
                    <a:pt x="1260" y="1082"/>
                    <a:pt x="1260" y="1082"/>
                    <a:pt x="1260" y="1082"/>
                  </a:cubicBezTo>
                  <a:cubicBezTo>
                    <a:pt x="1271" y="1079"/>
                    <a:pt x="1271" y="1079"/>
                    <a:pt x="1271" y="1079"/>
                  </a:cubicBezTo>
                  <a:cubicBezTo>
                    <a:pt x="1266" y="1074"/>
                    <a:pt x="1266" y="1074"/>
                    <a:pt x="1266" y="1074"/>
                  </a:cubicBezTo>
                  <a:cubicBezTo>
                    <a:pt x="1254" y="1078"/>
                    <a:pt x="1254" y="1078"/>
                    <a:pt x="1254" y="1078"/>
                  </a:cubicBezTo>
                  <a:cubicBezTo>
                    <a:pt x="1242" y="1080"/>
                    <a:pt x="1242" y="1080"/>
                    <a:pt x="1242" y="1080"/>
                  </a:cubicBezTo>
                  <a:cubicBezTo>
                    <a:pt x="1242" y="1086"/>
                    <a:pt x="1242" y="1086"/>
                    <a:pt x="1242" y="1086"/>
                  </a:cubicBezTo>
                  <a:cubicBezTo>
                    <a:pt x="1223" y="1095"/>
                    <a:pt x="1223" y="1095"/>
                    <a:pt x="1223" y="1095"/>
                  </a:cubicBezTo>
                  <a:cubicBezTo>
                    <a:pt x="1214" y="1106"/>
                    <a:pt x="1214" y="1106"/>
                    <a:pt x="1214" y="1106"/>
                  </a:cubicBezTo>
                  <a:cubicBezTo>
                    <a:pt x="1203" y="1109"/>
                    <a:pt x="1203" y="1109"/>
                    <a:pt x="1203" y="1109"/>
                  </a:cubicBezTo>
                  <a:cubicBezTo>
                    <a:pt x="1194" y="1118"/>
                    <a:pt x="1194" y="1118"/>
                    <a:pt x="1194" y="1118"/>
                  </a:cubicBezTo>
                  <a:cubicBezTo>
                    <a:pt x="1191" y="1128"/>
                    <a:pt x="1191" y="1128"/>
                    <a:pt x="1191" y="1128"/>
                  </a:cubicBezTo>
                  <a:cubicBezTo>
                    <a:pt x="1194" y="1140"/>
                    <a:pt x="1194" y="1140"/>
                    <a:pt x="1194" y="1140"/>
                  </a:cubicBezTo>
                  <a:cubicBezTo>
                    <a:pt x="1202" y="1148"/>
                    <a:pt x="1202" y="1148"/>
                    <a:pt x="1202" y="1148"/>
                  </a:cubicBezTo>
                  <a:cubicBezTo>
                    <a:pt x="1193" y="1157"/>
                    <a:pt x="1193" y="1157"/>
                    <a:pt x="1193" y="1157"/>
                  </a:cubicBezTo>
                  <a:cubicBezTo>
                    <a:pt x="1179" y="1152"/>
                    <a:pt x="1179" y="1152"/>
                    <a:pt x="1179" y="1152"/>
                  </a:cubicBezTo>
                  <a:cubicBezTo>
                    <a:pt x="1183" y="1166"/>
                    <a:pt x="1183" y="1166"/>
                    <a:pt x="1183" y="1166"/>
                  </a:cubicBezTo>
                  <a:cubicBezTo>
                    <a:pt x="1173" y="1176"/>
                    <a:pt x="1173" y="1176"/>
                    <a:pt x="1173" y="1176"/>
                  </a:cubicBezTo>
                  <a:cubicBezTo>
                    <a:pt x="1164" y="1185"/>
                    <a:pt x="1164" y="1185"/>
                    <a:pt x="1164" y="1185"/>
                  </a:cubicBezTo>
                  <a:cubicBezTo>
                    <a:pt x="1156" y="1185"/>
                    <a:pt x="1156" y="1185"/>
                    <a:pt x="1156" y="1185"/>
                  </a:cubicBezTo>
                  <a:cubicBezTo>
                    <a:pt x="1148" y="1192"/>
                    <a:pt x="1148" y="1192"/>
                    <a:pt x="1148" y="1192"/>
                  </a:cubicBezTo>
                  <a:cubicBezTo>
                    <a:pt x="1153" y="1201"/>
                    <a:pt x="1153" y="1201"/>
                    <a:pt x="1153" y="1201"/>
                  </a:cubicBezTo>
                  <a:cubicBezTo>
                    <a:pt x="1157" y="1205"/>
                    <a:pt x="1157" y="1205"/>
                    <a:pt x="1157" y="1205"/>
                  </a:cubicBezTo>
                  <a:cubicBezTo>
                    <a:pt x="1146" y="1212"/>
                    <a:pt x="1146" y="1212"/>
                    <a:pt x="1146" y="1212"/>
                  </a:cubicBezTo>
                  <a:cubicBezTo>
                    <a:pt x="1130" y="1212"/>
                    <a:pt x="1130" y="1212"/>
                    <a:pt x="1130" y="1212"/>
                  </a:cubicBezTo>
                  <a:cubicBezTo>
                    <a:pt x="1115" y="1227"/>
                    <a:pt x="1115" y="1227"/>
                    <a:pt x="1115" y="1227"/>
                  </a:cubicBezTo>
                  <a:cubicBezTo>
                    <a:pt x="1106" y="1237"/>
                    <a:pt x="1106" y="1237"/>
                    <a:pt x="1106" y="1237"/>
                  </a:cubicBezTo>
                  <a:cubicBezTo>
                    <a:pt x="1095" y="1255"/>
                    <a:pt x="1095" y="1255"/>
                    <a:pt x="1095" y="1255"/>
                  </a:cubicBezTo>
                  <a:cubicBezTo>
                    <a:pt x="1084" y="1266"/>
                    <a:pt x="1084" y="1266"/>
                    <a:pt x="1084" y="1266"/>
                  </a:cubicBezTo>
                  <a:cubicBezTo>
                    <a:pt x="1072" y="1289"/>
                    <a:pt x="1072" y="1289"/>
                    <a:pt x="1072" y="1289"/>
                  </a:cubicBezTo>
                  <a:cubicBezTo>
                    <a:pt x="1070" y="1311"/>
                    <a:pt x="1070" y="1311"/>
                    <a:pt x="1070" y="1311"/>
                  </a:cubicBezTo>
                  <a:cubicBezTo>
                    <a:pt x="1081" y="1332"/>
                    <a:pt x="1081" y="1332"/>
                    <a:pt x="1081" y="1332"/>
                  </a:cubicBezTo>
                  <a:cubicBezTo>
                    <a:pt x="1071" y="1342"/>
                    <a:pt x="1071" y="1342"/>
                    <a:pt x="1071" y="1342"/>
                  </a:cubicBezTo>
                  <a:cubicBezTo>
                    <a:pt x="1068" y="1364"/>
                    <a:pt x="1068" y="1364"/>
                    <a:pt x="1068" y="1364"/>
                  </a:cubicBezTo>
                  <a:cubicBezTo>
                    <a:pt x="1074" y="1379"/>
                    <a:pt x="1074" y="1379"/>
                    <a:pt x="1074" y="1379"/>
                  </a:cubicBezTo>
                  <a:cubicBezTo>
                    <a:pt x="1083" y="1388"/>
                    <a:pt x="1083" y="1388"/>
                    <a:pt x="1083" y="1388"/>
                  </a:cubicBezTo>
                  <a:cubicBezTo>
                    <a:pt x="1075" y="1402"/>
                    <a:pt x="1075" y="1402"/>
                    <a:pt x="1075" y="1402"/>
                  </a:cubicBezTo>
                  <a:cubicBezTo>
                    <a:pt x="1075" y="1420"/>
                    <a:pt x="1075" y="1420"/>
                    <a:pt x="1075" y="1420"/>
                  </a:cubicBezTo>
                  <a:cubicBezTo>
                    <a:pt x="1075" y="1444"/>
                    <a:pt x="1075" y="1444"/>
                    <a:pt x="1075" y="1444"/>
                  </a:cubicBezTo>
                  <a:cubicBezTo>
                    <a:pt x="1071" y="1460"/>
                    <a:pt x="1071" y="1460"/>
                    <a:pt x="1071" y="1460"/>
                  </a:cubicBezTo>
                  <a:cubicBezTo>
                    <a:pt x="1071" y="1483"/>
                    <a:pt x="1071" y="1483"/>
                    <a:pt x="1071" y="1483"/>
                  </a:cubicBezTo>
                  <a:cubicBezTo>
                    <a:pt x="1078" y="1490"/>
                    <a:pt x="1078" y="1490"/>
                    <a:pt x="1078" y="1490"/>
                  </a:cubicBezTo>
                  <a:cubicBezTo>
                    <a:pt x="1078" y="1506"/>
                    <a:pt x="1078" y="1506"/>
                    <a:pt x="1078" y="1506"/>
                  </a:cubicBezTo>
                  <a:cubicBezTo>
                    <a:pt x="1078" y="1524"/>
                    <a:pt x="1078" y="1524"/>
                    <a:pt x="1078" y="1524"/>
                  </a:cubicBezTo>
                  <a:cubicBezTo>
                    <a:pt x="1072" y="1547"/>
                    <a:pt x="1072" y="1547"/>
                    <a:pt x="1072" y="1547"/>
                  </a:cubicBezTo>
                  <a:cubicBezTo>
                    <a:pt x="1072" y="1566"/>
                    <a:pt x="1072" y="1566"/>
                    <a:pt x="1072" y="1566"/>
                  </a:cubicBezTo>
                  <a:cubicBezTo>
                    <a:pt x="1062" y="1582"/>
                    <a:pt x="1062" y="1582"/>
                    <a:pt x="1062" y="1582"/>
                  </a:cubicBezTo>
                  <a:cubicBezTo>
                    <a:pt x="1062" y="1599"/>
                    <a:pt x="1062" y="1599"/>
                    <a:pt x="1062" y="1599"/>
                  </a:cubicBezTo>
                  <a:cubicBezTo>
                    <a:pt x="1056" y="1614"/>
                    <a:pt x="1056" y="1614"/>
                    <a:pt x="1056" y="1614"/>
                  </a:cubicBezTo>
                  <a:cubicBezTo>
                    <a:pt x="1062" y="1627"/>
                    <a:pt x="1062" y="1627"/>
                    <a:pt x="1062" y="1627"/>
                  </a:cubicBezTo>
                  <a:cubicBezTo>
                    <a:pt x="1073" y="1627"/>
                    <a:pt x="1073" y="1627"/>
                    <a:pt x="1073" y="1627"/>
                  </a:cubicBezTo>
                  <a:cubicBezTo>
                    <a:pt x="1080" y="1619"/>
                    <a:pt x="1080" y="1619"/>
                    <a:pt x="1080" y="1619"/>
                  </a:cubicBezTo>
                  <a:cubicBezTo>
                    <a:pt x="1091" y="1619"/>
                    <a:pt x="1091" y="1619"/>
                    <a:pt x="1091" y="1619"/>
                  </a:cubicBezTo>
                  <a:cubicBezTo>
                    <a:pt x="1100" y="1611"/>
                    <a:pt x="1100" y="1611"/>
                    <a:pt x="1100" y="1611"/>
                  </a:cubicBezTo>
                  <a:cubicBezTo>
                    <a:pt x="1110" y="1601"/>
                    <a:pt x="1110" y="1601"/>
                    <a:pt x="1110" y="1601"/>
                  </a:cubicBezTo>
                  <a:cubicBezTo>
                    <a:pt x="1116" y="1608"/>
                    <a:pt x="1116" y="1608"/>
                    <a:pt x="1116" y="1608"/>
                  </a:cubicBezTo>
                  <a:cubicBezTo>
                    <a:pt x="1124" y="1612"/>
                    <a:pt x="1124" y="1612"/>
                    <a:pt x="1124" y="1612"/>
                  </a:cubicBezTo>
                  <a:cubicBezTo>
                    <a:pt x="1124" y="1620"/>
                    <a:pt x="1124" y="1620"/>
                    <a:pt x="1124" y="1620"/>
                  </a:cubicBezTo>
                  <a:cubicBezTo>
                    <a:pt x="1131" y="1632"/>
                    <a:pt x="1131" y="1632"/>
                    <a:pt x="1131" y="1632"/>
                  </a:cubicBezTo>
                  <a:cubicBezTo>
                    <a:pt x="1139" y="1640"/>
                    <a:pt x="1139" y="1640"/>
                    <a:pt x="1139" y="1640"/>
                  </a:cubicBezTo>
                  <a:cubicBezTo>
                    <a:pt x="1146" y="1633"/>
                    <a:pt x="1146" y="1633"/>
                    <a:pt x="1146" y="1633"/>
                  </a:cubicBezTo>
                  <a:cubicBezTo>
                    <a:pt x="1146" y="1622"/>
                    <a:pt x="1146" y="1622"/>
                    <a:pt x="1146" y="1622"/>
                  </a:cubicBezTo>
                  <a:cubicBezTo>
                    <a:pt x="1136" y="1618"/>
                    <a:pt x="1136" y="1618"/>
                    <a:pt x="1136" y="1618"/>
                  </a:cubicBezTo>
                  <a:cubicBezTo>
                    <a:pt x="1136" y="1608"/>
                    <a:pt x="1136" y="1608"/>
                    <a:pt x="1136" y="1608"/>
                  </a:cubicBezTo>
                  <a:cubicBezTo>
                    <a:pt x="1144" y="1600"/>
                    <a:pt x="1144" y="1600"/>
                    <a:pt x="1144" y="1600"/>
                  </a:cubicBezTo>
                  <a:cubicBezTo>
                    <a:pt x="1144" y="1607"/>
                    <a:pt x="1144" y="1607"/>
                    <a:pt x="1144" y="1607"/>
                  </a:cubicBezTo>
                  <a:cubicBezTo>
                    <a:pt x="1152" y="1613"/>
                    <a:pt x="1152" y="1613"/>
                    <a:pt x="1152" y="1613"/>
                  </a:cubicBezTo>
                  <a:cubicBezTo>
                    <a:pt x="1156" y="1612"/>
                    <a:pt x="1156" y="1612"/>
                    <a:pt x="1156" y="1612"/>
                  </a:cubicBezTo>
                  <a:cubicBezTo>
                    <a:pt x="1160" y="1616"/>
                    <a:pt x="1160" y="1616"/>
                    <a:pt x="1160" y="1616"/>
                  </a:cubicBezTo>
                  <a:cubicBezTo>
                    <a:pt x="1160" y="1628"/>
                    <a:pt x="1160" y="1628"/>
                    <a:pt x="1160" y="1628"/>
                  </a:cubicBezTo>
                  <a:cubicBezTo>
                    <a:pt x="1160" y="1636"/>
                    <a:pt x="1160" y="1636"/>
                    <a:pt x="1160" y="1636"/>
                  </a:cubicBezTo>
                  <a:cubicBezTo>
                    <a:pt x="1173" y="1631"/>
                    <a:pt x="1173" y="1631"/>
                    <a:pt x="1173" y="1631"/>
                  </a:cubicBezTo>
                  <a:cubicBezTo>
                    <a:pt x="1173" y="1624"/>
                    <a:pt x="1173" y="1624"/>
                    <a:pt x="1173" y="1624"/>
                  </a:cubicBezTo>
                  <a:cubicBezTo>
                    <a:pt x="1180" y="1614"/>
                    <a:pt x="1180" y="1614"/>
                    <a:pt x="1180" y="1614"/>
                  </a:cubicBezTo>
                  <a:cubicBezTo>
                    <a:pt x="1185" y="1610"/>
                    <a:pt x="1185" y="1610"/>
                    <a:pt x="1185" y="1610"/>
                  </a:cubicBezTo>
                  <a:cubicBezTo>
                    <a:pt x="1192" y="1616"/>
                    <a:pt x="1192" y="1616"/>
                    <a:pt x="1192" y="1616"/>
                  </a:cubicBezTo>
                  <a:cubicBezTo>
                    <a:pt x="1194" y="1605"/>
                    <a:pt x="1194" y="1605"/>
                    <a:pt x="1194" y="1605"/>
                  </a:cubicBezTo>
                  <a:cubicBezTo>
                    <a:pt x="1188" y="1598"/>
                    <a:pt x="1188" y="1598"/>
                    <a:pt x="1188" y="1598"/>
                  </a:cubicBezTo>
                  <a:cubicBezTo>
                    <a:pt x="1182" y="1587"/>
                    <a:pt x="1182" y="1587"/>
                    <a:pt x="1182" y="1587"/>
                  </a:cubicBezTo>
                  <a:cubicBezTo>
                    <a:pt x="1174" y="1574"/>
                    <a:pt x="1174" y="1574"/>
                    <a:pt x="1174" y="1574"/>
                  </a:cubicBezTo>
                  <a:cubicBezTo>
                    <a:pt x="1186" y="1567"/>
                    <a:pt x="1186" y="1567"/>
                    <a:pt x="1186" y="1567"/>
                  </a:cubicBezTo>
                  <a:cubicBezTo>
                    <a:pt x="1194" y="1560"/>
                    <a:pt x="1194" y="1560"/>
                    <a:pt x="1194" y="1560"/>
                  </a:cubicBezTo>
                  <a:cubicBezTo>
                    <a:pt x="1208" y="1556"/>
                    <a:pt x="1208" y="1556"/>
                    <a:pt x="1208" y="1556"/>
                  </a:cubicBezTo>
                  <a:cubicBezTo>
                    <a:pt x="1226" y="1556"/>
                    <a:pt x="1226" y="1556"/>
                    <a:pt x="1226" y="1556"/>
                  </a:cubicBezTo>
                  <a:cubicBezTo>
                    <a:pt x="1240" y="1558"/>
                    <a:pt x="1240" y="1558"/>
                    <a:pt x="1240" y="1558"/>
                  </a:cubicBezTo>
                  <a:cubicBezTo>
                    <a:pt x="1246" y="1564"/>
                    <a:pt x="1246" y="1564"/>
                    <a:pt x="1246" y="1564"/>
                  </a:cubicBezTo>
                  <a:cubicBezTo>
                    <a:pt x="1246" y="1564"/>
                    <a:pt x="1262" y="1562"/>
                    <a:pt x="1265" y="1562"/>
                  </a:cubicBezTo>
                  <a:cubicBezTo>
                    <a:pt x="1268" y="1562"/>
                    <a:pt x="1278" y="1558"/>
                    <a:pt x="1278" y="1558"/>
                  </a:cubicBezTo>
                  <a:cubicBezTo>
                    <a:pt x="1286" y="1566"/>
                    <a:pt x="1286" y="1566"/>
                    <a:pt x="1286" y="1566"/>
                  </a:cubicBezTo>
                  <a:cubicBezTo>
                    <a:pt x="1280" y="1572"/>
                    <a:pt x="1280" y="1572"/>
                    <a:pt x="1280" y="1572"/>
                  </a:cubicBezTo>
                  <a:cubicBezTo>
                    <a:pt x="1275" y="1577"/>
                    <a:pt x="1275" y="1577"/>
                    <a:pt x="1275" y="1577"/>
                  </a:cubicBezTo>
                  <a:cubicBezTo>
                    <a:pt x="1271" y="1584"/>
                    <a:pt x="1271" y="1584"/>
                    <a:pt x="1271" y="1584"/>
                  </a:cubicBezTo>
                  <a:cubicBezTo>
                    <a:pt x="1282" y="1584"/>
                    <a:pt x="1282" y="1584"/>
                    <a:pt x="1282" y="1584"/>
                  </a:cubicBezTo>
                  <a:cubicBezTo>
                    <a:pt x="1294" y="1584"/>
                    <a:pt x="1294" y="1584"/>
                    <a:pt x="1294" y="1584"/>
                  </a:cubicBezTo>
                  <a:cubicBezTo>
                    <a:pt x="1297" y="1593"/>
                    <a:pt x="1297" y="1593"/>
                    <a:pt x="1297" y="1593"/>
                  </a:cubicBezTo>
                  <a:cubicBezTo>
                    <a:pt x="1307" y="1603"/>
                    <a:pt x="1307" y="1603"/>
                    <a:pt x="1307" y="1603"/>
                  </a:cubicBezTo>
                  <a:cubicBezTo>
                    <a:pt x="1319" y="1601"/>
                    <a:pt x="1319" y="1601"/>
                    <a:pt x="1319" y="1601"/>
                  </a:cubicBezTo>
                  <a:cubicBezTo>
                    <a:pt x="1326" y="1608"/>
                    <a:pt x="1326" y="1608"/>
                    <a:pt x="1326" y="1608"/>
                  </a:cubicBezTo>
                  <a:cubicBezTo>
                    <a:pt x="1332" y="1620"/>
                    <a:pt x="1332" y="1620"/>
                    <a:pt x="1332" y="1620"/>
                  </a:cubicBezTo>
                  <a:cubicBezTo>
                    <a:pt x="1334" y="1646"/>
                    <a:pt x="1334" y="1646"/>
                    <a:pt x="1334" y="1646"/>
                  </a:cubicBezTo>
                  <a:cubicBezTo>
                    <a:pt x="1343" y="1672"/>
                    <a:pt x="1343" y="1672"/>
                    <a:pt x="1343" y="1672"/>
                  </a:cubicBezTo>
                  <a:cubicBezTo>
                    <a:pt x="1357" y="1692"/>
                    <a:pt x="1357" y="1692"/>
                    <a:pt x="1357" y="1692"/>
                  </a:cubicBezTo>
                  <a:cubicBezTo>
                    <a:pt x="1374" y="1709"/>
                    <a:pt x="1374" y="1709"/>
                    <a:pt x="1374" y="1709"/>
                  </a:cubicBezTo>
                  <a:cubicBezTo>
                    <a:pt x="1380" y="1716"/>
                    <a:pt x="1380" y="1716"/>
                    <a:pt x="1380" y="1716"/>
                  </a:cubicBezTo>
                  <a:cubicBezTo>
                    <a:pt x="1384" y="1727"/>
                    <a:pt x="1384" y="1727"/>
                    <a:pt x="1384" y="1727"/>
                  </a:cubicBezTo>
                  <a:cubicBezTo>
                    <a:pt x="1397" y="1740"/>
                    <a:pt x="1397" y="1740"/>
                    <a:pt x="1397" y="1740"/>
                  </a:cubicBezTo>
                  <a:cubicBezTo>
                    <a:pt x="1406" y="1756"/>
                    <a:pt x="1406" y="1756"/>
                    <a:pt x="1406" y="1756"/>
                  </a:cubicBezTo>
                  <a:cubicBezTo>
                    <a:pt x="1410" y="1766"/>
                    <a:pt x="1410" y="1766"/>
                    <a:pt x="1410" y="1766"/>
                  </a:cubicBezTo>
                  <a:cubicBezTo>
                    <a:pt x="1422" y="1785"/>
                    <a:pt x="1422" y="1785"/>
                    <a:pt x="1422" y="1785"/>
                  </a:cubicBezTo>
                  <a:cubicBezTo>
                    <a:pt x="1432" y="1795"/>
                    <a:pt x="1432" y="1795"/>
                    <a:pt x="1432" y="1795"/>
                  </a:cubicBezTo>
                  <a:cubicBezTo>
                    <a:pt x="1432" y="1823"/>
                    <a:pt x="1432" y="1823"/>
                    <a:pt x="1432" y="1823"/>
                  </a:cubicBezTo>
                  <a:cubicBezTo>
                    <a:pt x="1428" y="1847"/>
                    <a:pt x="1428" y="1847"/>
                    <a:pt x="1428" y="1847"/>
                  </a:cubicBezTo>
                  <a:cubicBezTo>
                    <a:pt x="1436" y="1871"/>
                    <a:pt x="1436" y="1871"/>
                    <a:pt x="1436" y="1871"/>
                  </a:cubicBezTo>
                  <a:cubicBezTo>
                    <a:pt x="1435" y="1896"/>
                    <a:pt x="1435" y="1896"/>
                    <a:pt x="1435" y="1896"/>
                  </a:cubicBezTo>
                  <a:cubicBezTo>
                    <a:pt x="1442" y="1915"/>
                    <a:pt x="1442" y="1915"/>
                    <a:pt x="1442" y="1915"/>
                  </a:cubicBezTo>
                  <a:cubicBezTo>
                    <a:pt x="1448" y="1936"/>
                    <a:pt x="1448" y="1936"/>
                    <a:pt x="1448" y="1936"/>
                  </a:cubicBezTo>
                  <a:cubicBezTo>
                    <a:pt x="1452" y="1956"/>
                    <a:pt x="1452" y="1956"/>
                    <a:pt x="1452" y="1956"/>
                  </a:cubicBezTo>
                  <a:cubicBezTo>
                    <a:pt x="1456" y="1982"/>
                    <a:pt x="1456" y="1982"/>
                    <a:pt x="1456" y="1982"/>
                  </a:cubicBezTo>
                  <a:cubicBezTo>
                    <a:pt x="1456" y="2007"/>
                    <a:pt x="1456" y="2007"/>
                    <a:pt x="1456" y="2007"/>
                  </a:cubicBezTo>
                  <a:cubicBezTo>
                    <a:pt x="1452" y="2020"/>
                    <a:pt x="1452" y="2020"/>
                    <a:pt x="1452" y="2020"/>
                  </a:cubicBezTo>
                  <a:cubicBezTo>
                    <a:pt x="1452" y="2046"/>
                    <a:pt x="1452" y="2046"/>
                    <a:pt x="1452" y="2046"/>
                  </a:cubicBezTo>
                  <a:cubicBezTo>
                    <a:pt x="1452" y="2078"/>
                    <a:pt x="1452" y="2078"/>
                    <a:pt x="1452" y="2078"/>
                  </a:cubicBezTo>
                  <a:cubicBezTo>
                    <a:pt x="1448" y="2102"/>
                    <a:pt x="1448" y="2102"/>
                    <a:pt x="1448" y="2102"/>
                  </a:cubicBezTo>
                  <a:cubicBezTo>
                    <a:pt x="1452" y="2127"/>
                    <a:pt x="1452" y="2127"/>
                    <a:pt x="1452" y="2127"/>
                  </a:cubicBezTo>
                  <a:cubicBezTo>
                    <a:pt x="1450" y="2159"/>
                    <a:pt x="1450" y="2159"/>
                    <a:pt x="1450" y="2159"/>
                  </a:cubicBezTo>
                  <a:cubicBezTo>
                    <a:pt x="1450" y="2174"/>
                    <a:pt x="1450" y="2174"/>
                    <a:pt x="1450" y="2174"/>
                  </a:cubicBezTo>
                  <a:cubicBezTo>
                    <a:pt x="1437" y="2196"/>
                    <a:pt x="1437" y="2196"/>
                    <a:pt x="1437" y="2196"/>
                  </a:cubicBezTo>
                  <a:cubicBezTo>
                    <a:pt x="1428" y="2215"/>
                    <a:pt x="1428" y="2215"/>
                    <a:pt x="1428" y="2215"/>
                  </a:cubicBezTo>
                  <a:cubicBezTo>
                    <a:pt x="1418" y="2234"/>
                    <a:pt x="1418" y="2234"/>
                    <a:pt x="1418" y="2234"/>
                  </a:cubicBezTo>
                  <a:cubicBezTo>
                    <a:pt x="1410" y="2234"/>
                    <a:pt x="1410" y="2234"/>
                    <a:pt x="1410" y="2234"/>
                  </a:cubicBezTo>
                  <a:cubicBezTo>
                    <a:pt x="1393" y="2240"/>
                    <a:pt x="1393" y="2240"/>
                    <a:pt x="1393" y="2240"/>
                  </a:cubicBezTo>
                  <a:cubicBezTo>
                    <a:pt x="1379" y="2248"/>
                    <a:pt x="1379" y="2248"/>
                    <a:pt x="1379" y="2248"/>
                  </a:cubicBezTo>
                  <a:cubicBezTo>
                    <a:pt x="1369" y="2244"/>
                    <a:pt x="1369" y="2244"/>
                    <a:pt x="1369" y="2244"/>
                  </a:cubicBezTo>
                  <a:cubicBezTo>
                    <a:pt x="1369" y="2235"/>
                    <a:pt x="1369" y="2235"/>
                    <a:pt x="1369" y="2235"/>
                  </a:cubicBezTo>
                  <a:cubicBezTo>
                    <a:pt x="1364" y="2230"/>
                    <a:pt x="1364" y="2230"/>
                    <a:pt x="1364" y="2230"/>
                  </a:cubicBezTo>
                  <a:cubicBezTo>
                    <a:pt x="1359" y="2242"/>
                    <a:pt x="1359" y="2242"/>
                    <a:pt x="1359" y="2242"/>
                  </a:cubicBezTo>
                  <a:cubicBezTo>
                    <a:pt x="1359" y="2254"/>
                    <a:pt x="1359" y="2254"/>
                    <a:pt x="1359" y="2254"/>
                  </a:cubicBezTo>
                  <a:cubicBezTo>
                    <a:pt x="1354" y="2248"/>
                    <a:pt x="1354" y="2248"/>
                    <a:pt x="1354" y="2248"/>
                  </a:cubicBezTo>
                  <a:cubicBezTo>
                    <a:pt x="1345" y="2240"/>
                    <a:pt x="1345" y="2240"/>
                    <a:pt x="1345" y="2240"/>
                  </a:cubicBezTo>
                  <a:cubicBezTo>
                    <a:pt x="1345" y="2246"/>
                    <a:pt x="1345" y="2246"/>
                    <a:pt x="1345" y="2246"/>
                  </a:cubicBezTo>
                  <a:cubicBezTo>
                    <a:pt x="1342" y="2263"/>
                    <a:pt x="1342" y="2263"/>
                    <a:pt x="1342" y="2263"/>
                  </a:cubicBezTo>
                  <a:cubicBezTo>
                    <a:pt x="1345" y="2274"/>
                    <a:pt x="1345" y="2274"/>
                    <a:pt x="1345" y="2274"/>
                  </a:cubicBezTo>
                  <a:cubicBezTo>
                    <a:pt x="1341" y="2287"/>
                    <a:pt x="1341" y="2287"/>
                    <a:pt x="1341" y="2287"/>
                  </a:cubicBezTo>
                  <a:cubicBezTo>
                    <a:pt x="1336" y="2293"/>
                    <a:pt x="1336" y="2293"/>
                    <a:pt x="1336" y="2293"/>
                  </a:cubicBezTo>
                  <a:cubicBezTo>
                    <a:pt x="1336" y="2300"/>
                    <a:pt x="1336" y="2300"/>
                    <a:pt x="1336" y="2300"/>
                  </a:cubicBezTo>
                  <a:cubicBezTo>
                    <a:pt x="1336" y="2310"/>
                    <a:pt x="1336" y="2310"/>
                    <a:pt x="1336" y="2310"/>
                  </a:cubicBezTo>
                  <a:cubicBezTo>
                    <a:pt x="1323" y="2310"/>
                    <a:pt x="1323" y="2310"/>
                    <a:pt x="1323" y="2310"/>
                  </a:cubicBezTo>
                  <a:cubicBezTo>
                    <a:pt x="1318" y="2304"/>
                    <a:pt x="1318" y="2304"/>
                    <a:pt x="1318" y="2304"/>
                  </a:cubicBezTo>
                  <a:cubicBezTo>
                    <a:pt x="1322" y="2289"/>
                    <a:pt x="1322" y="2289"/>
                    <a:pt x="1322" y="2289"/>
                  </a:cubicBezTo>
                  <a:cubicBezTo>
                    <a:pt x="1330" y="2273"/>
                    <a:pt x="1330" y="2273"/>
                    <a:pt x="1330" y="2273"/>
                  </a:cubicBezTo>
                  <a:cubicBezTo>
                    <a:pt x="1330" y="2260"/>
                    <a:pt x="1330" y="2260"/>
                    <a:pt x="1330" y="2260"/>
                  </a:cubicBezTo>
                  <a:cubicBezTo>
                    <a:pt x="1323" y="2244"/>
                    <a:pt x="1323" y="2244"/>
                    <a:pt x="1323" y="2244"/>
                  </a:cubicBezTo>
                  <a:cubicBezTo>
                    <a:pt x="1309" y="2230"/>
                    <a:pt x="1309" y="2230"/>
                    <a:pt x="1309" y="2230"/>
                  </a:cubicBezTo>
                  <a:cubicBezTo>
                    <a:pt x="1302" y="2222"/>
                    <a:pt x="1302" y="2222"/>
                    <a:pt x="1302" y="2222"/>
                  </a:cubicBezTo>
                  <a:cubicBezTo>
                    <a:pt x="1296" y="2207"/>
                    <a:pt x="1296" y="2207"/>
                    <a:pt x="1296" y="2207"/>
                  </a:cubicBezTo>
                  <a:cubicBezTo>
                    <a:pt x="1283" y="2194"/>
                    <a:pt x="1283" y="2194"/>
                    <a:pt x="1283" y="2194"/>
                  </a:cubicBezTo>
                  <a:cubicBezTo>
                    <a:pt x="1271" y="2190"/>
                    <a:pt x="1271" y="2190"/>
                    <a:pt x="1271" y="2190"/>
                  </a:cubicBezTo>
                  <a:cubicBezTo>
                    <a:pt x="1271" y="2177"/>
                    <a:pt x="1271" y="2177"/>
                    <a:pt x="1271" y="2177"/>
                  </a:cubicBezTo>
                  <a:cubicBezTo>
                    <a:pt x="1279" y="2169"/>
                    <a:pt x="1279" y="2169"/>
                    <a:pt x="1279" y="2169"/>
                  </a:cubicBezTo>
                  <a:cubicBezTo>
                    <a:pt x="1286" y="2162"/>
                    <a:pt x="1286" y="2162"/>
                    <a:pt x="1286" y="2162"/>
                  </a:cubicBezTo>
                  <a:cubicBezTo>
                    <a:pt x="1286" y="2148"/>
                    <a:pt x="1286" y="2148"/>
                    <a:pt x="1286" y="2148"/>
                  </a:cubicBezTo>
                  <a:cubicBezTo>
                    <a:pt x="1296" y="2139"/>
                    <a:pt x="1296" y="2139"/>
                    <a:pt x="1296" y="2139"/>
                  </a:cubicBezTo>
                  <a:cubicBezTo>
                    <a:pt x="1306" y="2134"/>
                    <a:pt x="1306" y="2134"/>
                    <a:pt x="1306" y="2134"/>
                  </a:cubicBezTo>
                  <a:cubicBezTo>
                    <a:pt x="1317" y="2137"/>
                    <a:pt x="1317" y="2137"/>
                    <a:pt x="1317" y="2137"/>
                  </a:cubicBezTo>
                  <a:cubicBezTo>
                    <a:pt x="1327" y="2128"/>
                    <a:pt x="1327" y="2128"/>
                    <a:pt x="1327" y="2128"/>
                  </a:cubicBezTo>
                  <a:cubicBezTo>
                    <a:pt x="1333" y="2116"/>
                    <a:pt x="1333" y="2116"/>
                    <a:pt x="1333" y="2116"/>
                  </a:cubicBezTo>
                  <a:cubicBezTo>
                    <a:pt x="1322" y="2099"/>
                    <a:pt x="1322" y="2099"/>
                    <a:pt x="1322" y="2099"/>
                  </a:cubicBezTo>
                  <a:cubicBezTo>
                    <a:pt x="1328" y="2085"/>
                    <a:pt x="1328" y="2085"/>
                    <a:pt x="1328" y="2085"/>
                  </a:cubicBezTo>
                  <a:cubicBezTo>
                    <a:pt x="1321" y="2070"/>
                    <a:pt x="1321" y="2070"/>
                    <a:pt x="1321" y="2070"/>
                  </a:cubicBezTo>
                  <a:cubicBezTo>
                    <a:pt x="1320" y="2055"/>
                    <a:pt x="1320" y="2055"/>
                    <a:pt x="1320" y="2055"/>
                  </a:cubicBezTo>
                  <a:cubicBezTo>
                    <a:pt x="1310" y="2042"/>
                    <a:pt x="1310" y="2042"/>
                    <a:pt x="1310" y="2042"/>
                  </a:cubicBezTo>
                  <a:cubicBezTo>
                    <a:pt x="1313" y="2032"/>
                    <a:pt x="1313" y="2032"/>
                    <a:pt x="1313" y="2032"/>
                  </a:cubicBezTo>
                  <a:cubicBezTo>
                    <a:pt x="1306" y="2019"/>
                    <a:pt x="1306" y="2019"/>
                    <a:pt x="1306" y="2019"/>
                  </a:cubicBezTo>
                  <a:cubicBezTo>
                    <a:pt x="1302" y="2004"/>
                    <a:pt x="1302" y="2004"/>
                    <a:pt x="1302" y="2004"/>
                  </a:cubicBezTo>
                  <a:cubicBezTo>
                    <a:pt x="1289" y="1990"/>
                    <a:pt x="1289" y="1990"/>
                    <a:pt x="1289" y="1990"/>
                  </a:cubicBezTo>
                  <a:cubicBezTo>
                    <a:pt x="1299" y="1980"/>
                    <a:pt x="1299" y="1980"/>
                    <a:pt x="1299" y="1980"/>
                  </a:cubicBezTo>
                  <a:cubicBezTo>
                    <a:pt x="1299" y="1966"/>
                    <a:pt x="1299" y="1966"/>
                    <a:pt x="1299" y="1966"/>
                  </a:cubicBezTo>
                  <a:cubicBezTo>
                    <a:pt x="1291" y="1957"/>
                    <a:pt x="1291" y="1957"/>
                    <a:pt x="1291" y="1957"/>
                  </a:cubicBezTo>
                  <a:cubicBezTo>
                    <a:pt x="1281" y="1948"/>
                    <a:pt x="1281" y="1948"/>
                    <a:pt x="1281" y="1948"/>
                  </a:cubicBezTo>
                  <a:cubicBezTo>
                    <a:pt x="1278" y="1939"/>
                    <a:pt x="1278" y="1939"/>
                    <a:pt x="1278" y="1939"/>
                  </a:cubicBezTo>
                  <a:cubicBezTo>
                    <a:pt x="1267" y="1939"/>
                    <a:pt x="1267" y="1939"/>
                    <a:pt x="1267" y="1939"/>
                  </a:cubicBezTo>
                  <a:cubicBezTo>
                    <a:pt x="1267" y="1939"/>
                    <a:pt x="1267" y="1939"/>
                    <a:pt x="1267" y="1939"/>
                  </a:cubicBezTo>
                  <a:cubicBezTo>
                    <a:pt x="1251" y="1948"/>
                    <a:pt x="1251" y="1948"/>
                    <a:pt x="1251" y="1948"/>
                  </a:cubicBezTo>
                  <a:cubicBezTo>
                    <a:pt x="1247" y="1961"/>
                    <a:pt x="1247" y="1961"/>
                    <a:pt x="1247" y="1961"/>
                  </a:cubicBezTo>
                  <a:cubicBezTo>
                    <a:pt x="1236" y="1978"/>
                    <a:pt x="1236" y="1978"/>
                    <a:pt x="1236" y="1978"/>
                  </a:cubicBezTo>
                  <a:cubicBezTo>
                    <a:pt x="1224" y="1994"/>
                    <a:pt x="1224" y="1994"/>
                    <a:pt x="1224" y="1994"/>
                  </a:cubicBezTo>
                  <a:cubicBezTo>
                    <a:pt x="1230" y="2010"/>
                    <a:pt x="1230" y="2010"/>
                    <a:pt x="1230" y="2010"/>
                  </a:cubicBezTo>
                  <a:cubicBezTo>
                    <a:pt x="1216" y="2022"/>
                    <a:pt x="1216" y="2022"/>
                    <a:pt x="1216" y="2022"/>
                  </a:cubicBezTo>
                  <a:cubicBezTo>
                    <a:pt x="1202" y="2030"/>
                    <a:pt x="1202" y="2030"/>
                    <a:pt x="1202" y="2030"/>
                  </a:cubicBezTo>
                  <a:cubicBezTo>
                    <a:pt x="1190" y="2034"/>
                    <a:pt x="1190" y="2034"/>
                    <a:pt x="1190" y="2034"/>
                  </a:cubicBezTo>
                  <a:cubicBezTo>
                    <a:pt x="1186" y="2046"/>
                    <a:pt x="1186" y="2046"/>
                    <a:pt x="1186" y="2046"/>
                  </a:cubicBezTo>
                  <a:cubicBezTo>
                    <a:pt x="1174" y="2046"/>
                    <a:pt x="1174" y="2046"/>
                    <a:pt x="1174" y="2046"/>
                  </a:cubicBezTo>
                  <a:cubicBezTo>
                    <a:pt x="1161" y="2038"/>
                    <a:pt x="1161" y="2038"/>
                    <a:pt x="1161" y="2038"/>
                  </a:cubicBezTo>
                  <a:cubicBezTo>
                    <a:pt x="1152" y="2035"/>
                    <a:pt x="1152" y="2035"/>
                    <a:pt x="1152" y="2035"/>
                  </a:cubicBezTo>
                  <a:cubicBezTo>
                    <a:pt x="1152" y="2020"/>
                    <a:pt x="1152" y="2020"/>
                    <a:pt x="1152" y="2020"/>
                  </a:cubicBezTo>
                  <a:cubicBezTo>
                    <a:pt x="1141" y="2010"/>
                    <a:pt x="1141" y="2010"/>
                    <a:pt x="1141" y="2010"/>
                  </a:cubicBezTo>
                  <a:cubicBezTo>
                    <a:pt x="1132" y="2002"/>
                    <a:pt x="1132" y="2002"/>
                    <a:pt x="1132" y="2002"/>
                  </a:cubicBezTo>
                  <a:cubicBezTo>
                    <a:pt x="1118" y="1998"/>
                    <a:pt x="1118" y="1998"/>
                    <a:pt x="1118" y="1998"/>
                  </a:cubicBezTo>
                  <a:cubicBezTo>
                    <a:pt x="1110" y="2006"/>
                    <a:pt x="1110" y="2006"/>
                    <a:pt x="1110" y="2006"/>
                  </a:cubicBezTo>
                  <a:cubicBezTo>
                    <a:pt x="1095" y="2002"/>
                    <a:pt x="1095" y="2002"/>
                    <a:pt x="1095" y="2002"/>
                  </a:cubicBezTo>
                  <a:cubicBezTo>
                    <a:pt x="1082" y="1998"/>
                    <a:pt x="1082" y="1998"/>
                    <a:pt x="1082" y="1998"/>
                  </a:cubicBezTo>
                  <a:cubicBezTo>
                    <a:pt x="1063" y="2001"/>
                    <a:pt x="1063" y="2001"/>
                    <a:pt x="1063" y="2001"/>
                  </a:cubicBezTo>
                  <a:cubicBezTo>
                    <a:pt x="1045" y="2001"/>
                    <a:pt x="1045" y="2001"/>
                    <a:pt x="1045" y="2001"/>
                  </a:cubicBezTo>
                  <a:cubicBezTo>
                    <a:pt x="1038" y="2008"/>
                    <a:pt x="1038" y="2008"/>
                    <a:pt x="1038" y="2008"/>
                  </a:cubicBezTo>
                  <a:cubicBezTo>
                    <a:pt x="1018" y="2016"/>
                    <a:pt x="1018" y="2016"/>
                    <a:pt x="1018" y="2016"/>
                  </a:cubicBezTo>
                  <a:cubicBezTo>
                    <a:pt x="998" y="2012"/>
                    <a:pt x="998" y="2012"/>
                    <a:pt x="998" y="2012"/>
                  </a:cubicBezTo>
                  <a:cubicBezTo>
                    <a:pt x="989" y="1995"/>
                    <a:pt x="989" y="1995"/>
                    <a:pt x="989" y="1995"/>
                  </a:cubicBezTo>
                  <a:cubicBezTo>
                    <a:pt x="980" y="1986"/>
                    <a:pt x="980" y="1986"/>
                    <a:pt x="980" y="1986"/>
                  </a:cubicBezTo>
                  <a:cubicBezTo>
                    <a:pt x="980" y="1986"/>
                    <a:pt x="968" y="1979"/>
                    <a:pt x="968" y="1976"/>
                  </a:cubicBezTo>
                  <a:cubicBezTo>
                    <a:pt x="968" y="1974"/>
                    <a:pt x="956" y="1964"/>
                    <a:pt x="956" y="1964"/>
                  </a:cubicBezTo>
                  <a:cubicBezTo>
                    <a:pt x="940" y="1961"/>
                    <a:pt x="940" y="1961"/>
                    <a:pt x="940" y="1961"/>
                  </a:cubicBezTo>
                  <a:cubicBezTo>
                    <a:pt x="933" y="1945"/>
                    <a:pt x="933" y="1945"/>
                    <a:pt x="933" y="1945"/>
                  </a:cubicBezTo>
                  <a:cubicBezTo>
                    <a:pt x="918" y="1933"/>
                    <a:pt x="918" y="1933"/>
                    <a:pt x="918" y="1933"/>
                  </a:cubicBezTo>
                  <a:cubicBezTo>
                    <a:pt x="907" y="1922"/>
                    <a:pt x="907" y="1922"/>
                    <a:pt x="907" y="1922"/>
                  </a:cubicBezTo>
                  <a:cubicBezTo>
                    <a:pt x="892" y="1918"/>
                    <a:pt x="892" y="1918"/>
                    <a:pt x="892" y="1918"/>
                  </a:cubicBezTo>
                  <a:cubicBezTo>
                    <a:pt x="887" y="1904"/>
                    <a:pt x="887" y="1904"/>
                    <a:pt x="887" y="1904"/>
                  </a:cubicBezTo>
                  <a:cubicBezTo>
                    <a:pt x="874" y="1898"/>
                    <a:pt x="874" y="1898"/>
                    <a:pt x="874" y="1898"/>
                  </a:cubicBezTo>
                  <a:cubicBezTo>
                    <a:pt x="866" y="1890"/>
                    <a:pt x="866" y="1890"/>
                    <a:pt x="866" y="1890"/>
                  </a:cubicBezTo>
                  <a:cubicBezTo>
                    <a:pt x="839" y="1888"/>
                    <a:pt x="839" y="1888"/>
                    <a:pt x="839" y="1888"/>
                  </a:cubicBezTo>
                  <a:cubicBezTo>
                    <a:pt x="825" y="1888"/>
                    <a:pt x="825" y="1888"/>
                    <a:pt x="825" y="1888"/>
                  </a:cubicBezTo>
                  <a:cubicBezTo>
                    <a:pt x="809" y="1896"/>
                    <a:pt x="809" y="1896"/>
                    <a:pt x="809" y="1896"/>
                  </a:cubicBezTo>
                  <a:cubicBezTo>
                    <a:pt x="789" y="1893"/>
                    <a:pt x="789" y="1893"/>
                    <a:pt x="789" y="1893"/>
                  </a:cubicBezTo>
                  <a:cubicBezTo>
                    <a:pt x="774" y="1898"/>
                    <a:pt x="774" y="1898"/>
                    <a:pt x="774" y="1898"/>
                  </a:cubicBezTo>
                  <a:cubicBezTo>
                    <a:pt x="757" y="1898"/>
                    <a:pt x="757" y="1898"/>
                    <a:pt x="757" y="1898"/>
                  </a:cubicBezTo>
                  <a:cubicBezTo>
                    <a:pt x="734" y="1915"/>
                    <a:pt x="734" y="1915"/>
                    <a:pt x="734" y="1915"/>
                  </a:cubicBezTo>
                  <a:cubicBezTo>
                    <a:pt x="724" y="1926"/>
                    <a:pt x="724" y="1926"/>
                    <a:pt x="724" y="1926"/>
                  </a:cubicBezTo>
                  <a:cubicBezTo>
                    <a:pt x="714" y="1909"/>
                    <a:pt x="714" y="1909"/>
                    <a:pt x="714" y="1909"/>
                  </a:cubicBezTo>
                  <a:cubicBezTo>
                    <a:pt x="710" y="1900"/>
                    <a:pt x="710" y="1900"/>
                    <a:pt x="710" y="1900"/>
                  </a:cubicBezTo>
                  <a:cubicBezTo>
                    <a:pt x="698" y="1900"/>
                    <a:pt x="698" y="1900"/>
                    <a:pt x="698" y="1900"/>
                  </a:cubicBezTo>
                  <a:cubicBezTo>
                    <a:pt x="695" y="1886"/>
                    <a:pt x="695" y="1886"/>
                    <a:pt x="695" y="1886"/>
                  </a:cubicBezTo>
                  <a:cubicBezTo>
                    <a:pt x="689" y="1877"/>
                    <a:pt x="689" y="1877"/>
                    <a:pt x="689" y="1877"/>
                  </a:cubicBezTo>
                  <a:cubicBezTo>
                    <a:pt x="699" y="1871"/>
                    <a:pt x="699" y="1871"/>
                    <a:pt x="699" y="1871"/>
                  </a:cubicBezTo>
                  <a:cubicBezTo>
                    <a:pt x="699" y="1867"/>
                    <a:pt x="699" y="1867"/>
                    <a:pt x="699" y="1867"/>
                  </a:cubicBezTo>
                  <a:cubicBezTo>
                    <a:pt x="694" y="1867"/>
                    <a:pt x="694" y="1867"/>
                    <a:pt x="694" y="1867"/>
                  </a:cubicBezTo>
                  <a:cubicBezTo>
                    <a:pt x="685" y="1857"/>
                    <a:pt x="685" y="1857"/>
                    <a:pt x="685" y="1857"/>
                  </a:cubicBezTo>
                  <a:cubicBezTo>
                    <a:pt x="678" y="1856"/>
                    <a:pt x="678" y="1856"/>
                    <a:pt x="678" y="1856"/>
                  </a:cubicBezTo>
                  <a:cubicBezTo>
                    <a:pt x="679" y="1839"/>
                    <a:pt x="679" y="1839"/>
                    <a:pt x="679" y="1839"/>
                  </a:cubicBezTo>
                  <a:cubicBezTo>
                    <a:pt x="675" y="1831"/>
                    <a:pt x="675" y="1831"/>
                    <a:pt x="675" y="1831"/>
                  </a:cubicBezTo>
                  <a:cubicBezTo>
                    <a:pt x="670" y="1818"/>
                    <a:pt x="670" y="1818"/>
                    <a:pt x="670" y="1818"/>
                  </a:cubicBezTo>
                  <a:cubicBezTo>
                    <a:pt x="660" y="1813"/>
                    <a:pt x="660" y="1813"/>
                    <a:pt x="660" y="1813"/>
                  </a:cubicBezTo>
                  <a:cubicBezTo>
                    <a:pt x="652" y="1824"/>
                    <a:pt x="652" y="1824"/>
                    <a:pt x="652" y="1824"/>
                  </a:cubicBezTo>
                  <a:cubicBezTo>
                    <a:pt x="644" y="1821"/>
                    <a:pt x="644" y="1821"/>
                    <a:pt x="644" y="1821"/>
                  </a:cubicBezTo>
                  <a:cubicBezTo>
                    <a:pt x="643" y="1809"/>
                    <a:pt x="643" y="1809"/>
                    <a:pt x="643" y="1809"/>
                  </a:cubicBezTo>
                  <a:cubicBezTo>
                    <a:pt x="638" y="1804"/>
                    <a:pt x="638" y="1804"/>
                    <a:pt x="638" y="1804"/>
                  </a:cubicBezTo>
                  <a:cubicBezTo>
                    <a:pt x="630" y="1802"/>
                    <a:pt x="630" y="1802"/>
                    <a:pt x="630" y="1802"/>
                  </a:cubicBezTo>
                  <a:cubicBezTo>
                    <a:pt x="622" y="1810"/>
                    <a:pt x="622" y="1810"/>
                    <a:pt x="622" y="1810"/>
                  </a:cubicBezTo>
                  <a:cubicBezTo>
                    <a:pt x="618" y="1820"/>
                    <a:pt x="618" y="1820"/>
                    <a:pt x="618" y="1820"/>
                  </a:cubicBezTo>
                  <a:cubicBezTo>
                    <a:pt x="604" y="1816"/>
                    <a:pt x="604" y="1816"/>
                    <a:pt x="604" y="1816"/>
                  </a:cubicBezTo>
                  <a:cubicBezTo>
                    <a:pt x="600" y="1808"/>
                    <a:pt x="600" y="1808"/>
                    <a:pt x="600" y="1808"/>
                  </a:cubicBezTo>
                  <a:cubicBezTo>
                    <a:pt x="608" y="1798"/>
                    <a:pt x="608" y="1798"/>
                    <a:pt x="608" y="1798"/>
                  </a:cubicBezTo>
                  <a:cubicBezTo>
                    <a:pt x="603" y="1790"/>
                    <a:pt x="603" y="1790"/>
                    <a:pt x="603" y="1790"/>
                  </a:cubicBezTo>
                  <a:cubicBezTo>
                    <a:pt x="594" y="1793"/>
                    <a:pt x="594" y="1793"/>
                    <a:pt x="594" y="1793"/>
                  </a:cubicBezTo>
                  <a:cubicBezTo>
                    <a:pt x="583" y="1790"/>
                    <a:pt x="583" y="1790"/>
                    <a:pt x="583" y="1790"/>
                  </a:cubicBezTo>
                  <a:cubicBezTo>
                    <a:pt x="575" y="1782"/>
                    <a:pt x="575" y="1782"/>
                    <a:pt x="575" y="1782"/>
                  </a:cubicBezTo>
                  <a:cubicBezTo>
                    <a:pt x="575" y="1774"/>
                    <a:pt x="575" y="1774"/>
                    <a:pt x="575" y="1774"/>
                  </a:cubicBezTo>
                  <a:close/>
                  <a:moveTo>
                    <a:pt x="1276" y="1498"/>
                  </a:moveTo>
                  <a:cubicBezTo>
                    <a:pt x="1272" y="1499"/>
                    <a:pt x="1272" y="1499"/>
                    <a:pt x="1272" y="1499"/>
                  </a:cubicBezTo>
                  <a:cubicBezTo>
                    <a:pt x="1268" y="1490"/>
                    <a:pt x="1268" y="1490"/>
                    <a:pt x="1268" y="1490"/>
                  </a:cubicBezTo>
                  <a:cubicBezTo>
                    <a:pt x="1268" y="1481"/>
                    <a:pt x="1268" y="1481"/>
                    <a:pt x="1268" y="1481"/>
                  </a:cubicBezTo>
                  <a:cubicBezTo>
                    <a:pt x="1283" y="1485"/>
                    <a:pt x="1283" y="1485"/>
                    <a:pt x="1283" y="1485"/>
                  </a:cubicBezTo>
                  <a:cubicBezTo>
                    <a:pt x="1291" y="1488"/>
                    <a:pt x="1291" y="1488"/>
                    <a:pt x="1291" y="1488"/>
                  </a:cubicBezTo>
                  <a:cubicBezTo>
                    <a:pt x="1295" y="1498"/>
                    <a:pt x="1295" y="1498"/>
                    <a:pt x="1295" y="1498"/>
                  </a:cubicBezTo>
                  <a:cubicBezTo>
                    <a:pt x="1303" y="1506"/>
                    <a:pt x="1303" y="1506"/>
                    <a:pt x="1303" y="1506"/>
                  </a:cubicBezTo>
                  <a:cubicBezTo>
                    <a:pt x="1317" y="1509"/>
                    <a:pt x="1317" y="1509"/>
                    <a:pt x="1317" y="1509"/>
                  </a:cubicBezTo>
                  <a:cubicBezTo>
                    <a:pt x="1321" y="1518"/>
                    <a:pt x="1321" y="1518"/>
                    <a:pt x="1321" y="1518"/>
                  </a:cubicBezTo>
                  <a:cubicBezTo>
                    <a:pt x="1337" y="1528"/>
                    <a:pt x="1337" y="1528"/>
                    <a:pt x="1337" y="1528"/>
                  </a:cubicBezTo>
                  <a:cubicBezTo>
                    <a:pt x="1345" y="1528"/>
                    <a:pt x="1345" y="1528"/>
                    <a:pt x="1345" y="1528"/>
                  </a:cubicBezTo>
                  <a:cubicBezTo>
                    <a:pt x="1352" y="1538"/>
                    <a:pt x="1352" y="1538"/>
                    <a:pt x="1352" y="1538"/>
                  </a:cubicBezTo>
                  <a:cubicBezTo>
                    <a:pt x="1358" y="1554"/>
                    <a:pt x="1358" y="1554"/>
                    <a:pt x="1358" y="1554"/>
                  </a:cubicBezTo>
                  <a:cubicBezTo>
                    <a:pt x="1367" y="1563"/>
                    <a:pt x="1367" y="1563"/>
                    <a:pt x="1367" y="1563"/>
                  </a:cubicBezTo>
                  <a:cubicBezTo>
                    <a:pt x="1384" y="1580"/>
                    <a:pt x="1384" y="1580"/>
                    <a:pt x="1384" y="1580"/>
                  </a:cubicBezTo>
                  <a:cubicBezTo>
                    <a:pt x="1395" y="1583"/>
                    <a:pt x="1395" y="1583"/>
                    <a:pt x="1395" y="1583"/>
                  </a:cubicBezTo>
                  <a:cubicBezTo>
                    <a:pt x="1410" y="1589"/>
                    <a:pt x="1410" y="1589"/>
                    <a:pt x="1410" y="1589"/>
                  </a:cubicBezTo>
                  <a:cubicBezTo>
                    <a:pt x="1424" y="1602"/>
                    <a:pt x="1424" y="1602"/>
                    <a:pt x="1424" y="1602"/>
                  </a:cubicBezTo>
                  <a:cubicBezTo>
                    <a:pt x="1444" y="1612"/>
                    <a:pt x="1444" y="1612"/>
                    <a:pt x="1444" y="1612"/>
                  </a:cubicBezTo>
                  <a:cubicBezTo>
                    <a:pt x="1457" y="1623"/>
                    <a:pt x="1457" y="1623"/>
                    <a:pt x="1457" y="1623"/>
                  </a:cubicBezTo>
                  <a:cubicBezTo>
                    <a:pt x="1474" y="1632"/>
                    <a:pt x="1474" y="1632"/>
                    <a:pt x="1474" y="1632"/>
                  </a:cubicBezTo>
                  <a:cubicBezTo>
                    <a:pt x="1488" y="1641"/>
                    <a:pt x="1488" y="1641"/>
                    <a:pt x="1488" y="1641"/>
                  </a:cubicBezTo>
                  <a:cubicBezTo>
                    <a:pt x="1497" y="1648"/>
                    <a:pt x="1497" y="1648"/>
                    <a:pt x="1497" y="1648"/>
                  </a:cubicBezTo>
                  <a:cubicBezTo>
                    <a:pt x="1513" y="1655"/>
                    <a:pt x="1513" y="1655"/>
                    <a:pt x="1513" y="1655"/>
                  </a:cubicBezTo>
                  <a:cubicBezTo>
                    <a:pt x="1511" y="1662"/>
                    <a:pt x="1511" y="1662"/>
                    <a:pt x="1511" y="1662"/>
                  </a:cubicBezTo>
                  <a:cubicBezTo>
                    <a:pt x="1505" y="1668"/>
                    <a:pt x="1505" y="1668"/>
                    <a:pt x="1505" y="1668"/>
                  </a:cubicBezTo>
                  <a:cubicBezTo>
                    <a:pt x="1494" y="1671"/>
                    <a:pt x="1494" y="1671"/>
                    <a:pt x="1494" y="1671"/>
                  </a:cubicBezTo>
                  <a:cubicBezTo>
                    <a:pt x="1486" y="1671"/>
                    <a:pt x="1486" y="1671"/>
                    <a:pt x="1486" y="1671"/>
                  </a:cubicBezTo>
                  <a:cubicBezTo>
                    <a:pt x="1488" y="1683"/>
                    <a:pt x="1488" y="1683"/>
                    <a:pt x="1488" y="1683"/>
                  </a:cubicBezTo>
                  <a:cubicBezTo>
                    <a:pt x="1486" y="1692"/>
                    <a:pt x="1486" y="1692"/>
                    <a:pt x="1486" y="1692"/>
                  </a:cubicBezTo>
                  <a:cubicBezTo>
                    <a:pt x="1486" y="1699"/>
                    <a:pt x="1486" y="1699"/>
                    <a:pt x="1486" y="1699"/>
                  </a:cubicBezTo>
                  <a:cubicBezTo>
                    <a:pt x="1495" y="1714"/>
                    <a:pt x="1495" y="1714"/>
                    <a:pt x="1495" y="1714"/>
                  </a:cubicBezTo>
                  <a:cubicBezTo>
                    <a:pt x="1495" y="1714"/>
                    <a:pt x="1505" y="1724"/>
                    <a:pt x="1503" y="1726"/>
                  </a:cubicBezTo>
                  <a:cubicBezTo>
                    <a:pt x="1501" y="1728"/>
                    <a:pt x="1504" y="1744"/>
                    <a:pt x="1504" y="1744"/>
                  </a:cubicBezTo>
                  <a:cubicBezTo>
                    <a:pt x="1511" y="1751"/>
                    <a:pt x="1511" y="1751"/>
                    <a:pt x="1511" y="1751"/>
                  </a:cubicBezTo>
                  <a:cubicBezTo>
                    <a:pt x="1523" y="1763"/>
                    <a:pt x="1523" y="1763"/>
                    <a:pt x="1523" y="1763"/>
                  </a:cubicBezTo>
                  <a:cubicBezTo>
                    <a:pt x="1532" y="1769"/>
                    <a:pt x="1532" y="1769"/>
                    <a:pt x="1532" y="1769"/>
                  </a:cubicBezTo>
                  <a:cubicBezTo>
                    <a:pt x="1547" y="1769"/>
                    <a:pt x="1547" y="1769"/>
                    <a:pt x="1547" y="1769"/>
                  </a:cubicBezTo>
                  <a:cubicBezTo>
                    <a:pt x="1556" y="1778"/>
                    <a:pt x="1556" y="1778"/>
                    <a:pt x="1556" y="1778"/>
                  </a:cubicBezTo>
                  <a:cubicBezTo>
                    <a:pt x="1566" y="1778"/>
                    <a:pt x="1566" y="1778"/>
                    <a:pt x="1566" y="1778"/>
                  </a:cubicBezTo>
                  <a:cubicBezTo>
                    <a:pt x="1571" y="1789"/>
                    <a:pt x="1571" y="1789"/>
                    <a:pt x="1571" y="1789"/>
                  </a:cubicBezTo>
                  <a:cubicBezTo>
                    <a:pt x="1584" y="1790"/>
                    <a:pt x="1584" y="1790"/>
                    <a:pt x="1584" y="1790"/>
                  </a:cubicBezTo>
                  <a:cubicBezTo>
                    <a:pt x="1591" y="1782"/>
                    <a:pt x="1591" y="1782"/>
                    <a:pt x="1591" y="1782"/>
                  </a:cubicBezTo>
                  <a:cubicBezTo>
                    <a:pt x="1605" y="1790"/>
                    <a:pt x="1605" y="1790"/>
                    <a:pt x="1605" y="1790"/>
                  </a:cubicBezTo>
                  <a:cubicBezTo>
                    <a:pt x="1613" y="1800"/>
                    <a:pt x="1613" y="1800"/>
                    <a:pt x="1613" y="1800"/>
                  </a:cubicBezTo>
                  <a:cubicBezTo>
                    <a:pt x="1613" y="1800"/>
                    <a:pt x="1616" y="1807"/>
                    <a:pt x="1613" y="1807"/>
                  </a:cubicBezTo>
                  <a:cubicBezTo>
                    <a:pt x="1610" y="1807"/>
                    <a:pt x="1595" y="1799"/>
                    <a:pt x="1595" y="1799"/>
                  </a:cubicBezTo>
                  <a:cubicBezTo>
                    <a:pt x="1588" y="1806"/>
                    <a:pt x="1588" y="1806"/>
                    <a:pt x="1588" y="1806"/>
                  </a:cubicBezTo>
                  <a:cubicBezTo>
                    <a:pt x="1573" y="1806"/>
                    <a:pt x="1573" y="1806"/>
                    <a:pt x="1573" y="1806"/>
                  </a:cubicBezTo>
                  <a:cubicBezTo>
                    <a:pt x="1569" y="1818"/>
                    <a:pt x="1569" y="1818"/>
                    <a:pt x="1569" y="1818"/>
                  </a:cubicBezTo>
                  <a:cubicBezTo>
                    <a:pt x="1572" y="1829"/>
                    <a:pt x="1572" y="1829"/>
                    <a:pt x="1572" y="1829"/>
                  </a:cubicBezTo>
                  <a:cubicBezTo>
                    <a:pt x="1581" y="1839"/>
                    <a:pt x="1581" y="1839"/>
                    <a:pt x="1581" y="1839"/>
                  </a:cubicBezTo>
                  <a:cubicBezTo>
                    <a:pt x="1588" y="1854"/>
                    <a:pt x="1588" y="1854"/>
                    <a:pt x="1588" y="1854"/>
                  </a:cubicBezTo>
                  <a:cubicBezTo>
                    <a:pt x="1579" y="1861"/>
                    <a:pt x="1579" y="1861"/>
                    <a:pt x="1579" y="1861"/>
                  </a:cubicBezTo>
                  <a:cubicBezTo>
                    <a:pt x="1571" y="1852"/>
                    <a:pt x="1571" y="1852"/>
                    <a:pt x="1571" y="1852"/>
                  </a:cubicBezTo>
                  <a:cubicBezTo>
                    <a:pt x="1561" y="1842"/>
                    <a:pt x="1561" y="1842"/>
                    <a:pt x="1561" y="1842"/>
                  </a:cubicBezTo>
                  <a:cubicBezTo>
                    <a:pt x="1544" y="1826"/>
                    <a:pt x="1544" y="1826"/>
                    <a:pt x="1544" y="1826"/>
                  </a:cubicBezTo>
                  <a:cubicBezTo>
                    <a:pt x="1544" y="1815"/>
                    <a:pt x="1544" y="1815"/>
                    <a:pt x="1544" y="1815"/>
                  </a:cubicBezTo>
                  <a:cubicBezTo>
                    <a:pt x="1532" y="1803"/>
                    <a:pt x="1532" y="1803"/>
                    <a:pt x="1532" y="1803"/>
                  </a:cubicBezTo>
                  <a:cubicBezTo>
                    <a:pt x="1521" y="1792"/>
                    <a:pt x="1521" y="1792"/>
                    <a:pt x="1521" y="1792"/>
                  </a:cubicBezTo>
                  <a:cubicBezTo>
                    <a:pt x="1514" y="1783"/>
                    <a:pt x="1514" y="1783"/>
                    <a:pt x="1514" y="1783"/>
                  </a:cubicBezTo>
                  <a:cubicBezTo>
                    <a:pt x="1505" y="1765"/>
                    <a:pt x="1505" y="1765"/>
                    <a:pt x="1505" y="1765"/>
                  </a:cubicBezTo>
                  <a:cubicBezTo>
                    <a:pt x="1493" y="1754"/>
                    <a:pt x="1493" y="1754"/>
                    <a:pt x="1493" y="1754"/>
                  </a:cubicBezTo>
                  <a:cubicBezTo>
                    <a:pt x="1481" y="1747"/>
                    <a:pt x="1481" y="1747"/>
                    <a:pt x="1481" y="1747"/>
                  </a:cubicBezTo>
                  <a:cubicBezTo>
                    <a:pt x="1470" y="1743"/>
                    <a:pt x="1470" y="1743"/>
                    <a:pt x="1470" y="1743"/>
                  </a:cubicBezTo>
                  <a:cubicBezTo>
                    <a:pt x="1460" y="1723"/>
                    <a:pt x="1460" y="1723"/>
                    <a:pt x="1460" y="1723"/>
                  </a:cubicBezTo>
                  <a:cubicBezTo>
                    <a:pt x="1438" y="1693"/>
                    <a:pt x="1438" y="1693"/>
                    <a:pt x="1438" y="1693"/>
                  </a:cubicBezTo>
                  <a:cubicBezTo>
                    <a:pt x="1421" y="1676"/>
                    <a:pt x="1421" y="1676"/>
                    <a:pt x="1421" y="1676"/>
                  </a:cubicBezTo>
                  <a:cubicBezTo>
                    <a:pt x="1407" y="1661"/>
                    <a:pt x="1407" y="1661"/>
                    <a:pt x="1407" y="1661"/>
                  </a:cubicBezTo>
                  <a:cubicBezTo>
                    <a:pt x="1394" y="1644"/>
                    <a:pt x="1394" y="1644"/>
                    <a:pt x="1394" y="1644"/>
                  </a:cubicBezTo>
                  <a:cubicBezTo>
                    <a:pt x="1386" y="1631"/>
                    <a:pt x="1386" y="1631"/>
                    <a:pt x="1386" y="1631"/>
                  </a:cubicBezTo>
                  <a:cubicBezTo>
                    <a:pt x="1364" y="1621"/>
                    <a:pt x="1364" y="1621"/>
                    <a:pt x="1364" y="1621"/>
                  </a:cubicBezTo>
                  <a:cubicBezTo>
                    <a:pt x="1347" y="1614"/>
                    <a:pt x="1347" y="1614"/>
                    <a:pt x="1347" y="1614"/>
                  </a:cubicBezTo>
                  <a:cubicBezTo>
                    <a:pt x="1336" y="1612"/>
                    <a:pt x="1336" y="1612"/>
                    <a:pt x="1336" y="1612"/>
                  </a:cubicBezTo>
                  <a:cubicBezTo>
                    <a:pt x="1322" y="1593"/>
                    <a:pt x="1322" y="1593"/>
                    <a:pt x="1322" y="1593"/>
                  </a:cubicBezTo>
                  <a:cubicBezTo>
                    <a:pt x="1322" y="1585"/>
                    <a:pt x="1322" y="1585"/>
                    <a:pt x="1322" y="1585"/>
                  </a:cubicBezTo>
                  <a:cubicBezTo>
                    <a:pt x="1307" y="1570"/>
                    <a:pt x="1307" y="1570"/>
                    <a:pt x="1307" y="1570"/>
                  </a:cubicBezTo>
                  <a:cubicBezTo>
                    <a:pt x="1299" y="1555"/>
                    <a:pt x="1299" y="1555"/>
                    <a:pt x="1299" y="1555"/>
                  </a:cubicBezTo>
                  <a:cubicBezTo>
                    <a:pt x="1283" y="1550"/>
                    <a:pt x="1283" y="1550"/>
                    <a:pt x="1283" y="1550"/>
                  </a:cubicBezTo>
                  <a:cubicBezTo>
                    <a:pt x="1287" y="1538"/>
                    <a:pt x="1287" y="1538"/>
                    <a:pt x="1287" y="1538"/>
                  </a:cubicBezTo>
                  <a:cubicBezTo>
                    <a:pt x="1287" y="1529"/>
                    <a:pt x="1287" y="1529"/>
                    <a:pt x="1287" y="1529"/>
                  </a:cubicBezTo>
                  <a:cubicBezTo>
                    <a:pt x="1300" y="1533"/>
                    <a:pt x="1300" y="1533"/>
                    <a:pt x="1300" y="1533"/>
                  </a:cubicBezTo>
                  <a:cubicBezTo>
                    <a:pt x="1303" y="1522"/>
                    <a:pt x="1303" y="1522"/>
                    <a:pt x="1303" y="1522"/>
                  </a:cubicBezTo>
                  <a:cubicBezTo>
                    <a:pt x="1295" y="1514"/>
                    <a:pt x="1295" y="1514"/>
                    <a:pt x="1295" y="1514"/>
                  </a:cubicBezTo>
                  <a:cubicBezTo>
                    <a:pt x="1295" y="1510"/>
                    <a:pt x="1295" y="1510"/>
                    <a:pt x="1295" y="1510"/>
                  </a:cubicBezTo>
                  <a:cubicBezTo>
                    <a:pt x="1287" y="1502"/>
                    <a:pt x="1287" y="1502"/>
                    <a:pt x="1287" y="1502"/>
                  </a:cubicBezTo>
                  <a:cubicBezTo>
                    <a:pt x="1276" y="1498"/>
                    <a:pt x="1276" y="1498"/>
                    <a:pt x="1276" y="1498"/>
                  </a:cubicBezTo>
                  <a:close/>
                  <a:moveTo>
                    <a:pt x="1764" y="1799"/>
                  </a:moveTo>
                  <a:cubicBezTo>
                    <a:pt x="1766" y="1811"/>
                    <a:pt x="1766" y="1811"/>
                    <a:pt x="1766" y="1811"/>
                  </a:cubicBezTo>
                  <a:cubicBezTo>
                    <a:pt x="1767" y="1823"/>
                    <a:pt x="1767" y="1823"/>
                    <a:pt x="1767" y="1823"/>
                  </a:cubicBezTo>
                  <a:cubicBezTo>
                    <a:pt x="1772" y="1825"/>
                    <a:pt x="1772" y="1825"/>
                    <a:pt x="1772" y="1825"/>
                  </a:cubicBezTo>
                  <a:cubicBezTo>
                    <a:pt x="1772" y="1815"/>
                    <a:pt x="1772" y="1815"/>
                    <a:pt x="1772" y="1815"/>
                  </a:cubicBezTo>
                  <a:cubicBezTo>
                    <a:pt x="1775" y="1808"/>
                    <a:pt x="1775" y="1808"/>
                    <a:pt x="1775" y="1808"/>
                  </a:cubicBezTo>
                  <a:cubicBezTo>
                    <a:pt x="1775" y="1798"/>
                    <a:pt x="1775" y="1798"/>
                    <a:pt x="1775" y="1798"/>
                  </a:cubicBezTo>
                  <a:cubicBezTo>
                    <a:pt x="1764" y="1799"/>
                    <a:pt x="1764" y="1799"/>
                    <a:pt x="1764" y="1799"/>
                  </a:cubicBezTo>
                  <a:close/>
                  <a:moveTo>
                    <a:pt x="1803" y="1806"/>
                  </a:moveTo>
                  <a:cubicBezTo>
                    <a:pt x="1803" y="1811"/>
                    <a:pt x="1803" y="1811"/>
                    <a:pt x="1803" y="1811"/>
                  </a:cubicBezTo>
                  <a:cubicBezTo>
                    <a:pt x="1811" y="1815"/>
                    <a:pt x="1811" y="1815"/>
                    <a:pt x="1811" y="1815"/>
                  </a:cubicBezTo>
                  <a:cubicBezTo>
                    <a:pt x="1811" y="1807"/>
                    <a:pt x="1811" y="1807"/>
                    <a:pt x="1811" y="1807"/>
                  </a:cubicBezTo>
                  <a:lnTo>
                    <a:pt x="1803" y="1806"/>
                  </a:lnTo>
                  <a:close/>
                  <a:moveTo>
                    <a:pt x="1780" y="1760"/>
                  </a:moveTo>
                  <a:cubicBezTo>
                    <a:pt x="1787" y="1762"/>
                    <a:pt x="1787" y="1762"/>
                    <a:pt x="1787" y="1762"/>
                  </a:cubicBezTo>
                  <a:cubicBezTo>
                    <a:pt x="1789" y="1753"/>
                    <a:pt x="1789" y="1753"/>
                    <a:pt x="1789" y="1753"/>
                  </a:cubicBezTo>
                  <a:cubicBezTo>
                    <a:pt x="1786" y="1735"/>
                    <a:pt x="1786" y="1735"/>
                    <a:pt x="1786" y="1735"/>
                  </a:cubicBezTo>
                  <a:cubicBezTo>
                    <a:pt x="1792" y="1728"/>
                    <a:pt x="1792" y="1728"/>
                    <a:pt x="1792" y="1728"/>
                  </a:cubicBezTo>
                  <a:cubicBezTo>
                    <a:pt x="1791" y="1715"/>
                    <a:pt x="1791" y="1715"/>
                    <a:pt x="1791" y="1715"/>
                  </a:cubicBezTo>
                  <a:cubicBezTo>
                    <a:pt x="1781" y="1712"/>
                    <a:pt x="1781" y="1712"/>
                    <a:pt x="1781" y="1712"/>
                  </a:cubicBezTo>
                  <a:cubicBezTo>
                    <a:pt x="1778" y="1727"/>
                    <a:pt x="1778" y="1727"/>
                    <a:pt x="1778" y="1727"/>
                  </a:cubicBezTo>
                  <a:cubicBezTo>
                    <a:pt x="1782" y="1731"/>
                    <a:pt x="1782" y="1731"/>
                    <a:pt x="1782" y="1731"/>
                  </a:cubicBezTo>
                  <a:cubicBezTo>
                    <a:pt x="1779" y="1742"/>
                    <a:pt x="1779" y="1742"/>
                    <a:pt x="1779" y="1742"/>
                  </a:cubicBezTo>
                  <a:cubicBezTo>
                    <a:pt x="1780" y="1760"/>
                    <a:pt x="1780" y="1760"/>
                    <a:pt x="1780" y="1760"/>
                  </a:cubicBezTo>
                  <a:close/>
                  <a:moveTo>
                    <a:pt x="1797" y="1683"/>
                  </a:moveTo>
                  <a:cubicBezTo>
                    <a:pt x="1794" y="1686"/>
                    <a:pt x="1794" y="1686"/>
                    <a:pt x="1794" y="1686"/>
                  </a:cubicBezTo>
                  <a:cubicBezTo>
                    <a:pt x="1797" y="1696"/>
                    <a:pt x="1797" y="1696"/>
                    <a:pt x="1797" y="1696"/>
                  </a:cubicBezTo>
                  <a:cubicBezTo>
                    <a:pt x="1801" y="1689"/>
                    <a:pt x="1801" y="1689"/>
                    <a:pt x="1801" y="1689"/>
                  </a:cubicBezTo>
                  <a:cubicBezTo>
                    <a:pt x="1797" y="1683"/>
                    <a:pt x="1797" y="1683"/>
                    <a:pt x="1797" y="1683"/>
                  </a:cubicBezTo>
                  <a:close/>
                  <a:moveTo>
                    <a:pt x="1804" y="1648"/>
                  </a:moveTo>
                  <a:cubicBezTo>
                    <a:pt x="1807" y="1633"/>
                    <a:pt x="1807" y="1633"/>
                    <a:pt x="1807" y="1633"/>
                  </a:cubicBezTo>
                  <a:cubicBezTo>
                    <a:pt x="1803" y="1624"/>
                    <a:pt x="1803" y="1624"/>
                    <a:pt x="1803" y="1624"/>
                  </a:cubicBezTo>
                  <a:cubicBezTo>
                    <a:pt x="1805" y="1614"/>
                    <a:pt x="1805" y="1614"/>
                    <a:pt x="1805" y="1614"/>
                  </a:cubicBezTo>
                  <a:cubicBezTo>
                    <a:pt x="1813" y="1606"/>
                    <a:pt x="1813" y="1606"/>
                    <a:pt x="1813" y="1606"/>
                  </a:cubicBezTo>
                  <a:cubicBezTo>
                    <a:pt x="1815" y="1617"/>
                    <a:pt x="1815" y="1617"/>
                    <a:pt x="1815" y="1617"/>
                  </a:cubicBezTo>
                  <a:cubicBezTo>
                    <a:pt x="1813" y="1628"/>
                    <a:pt x="1813" y="1628"/>
                    <a:pt x="1813" y="1628"/>
                  </a:cubicBezTo>
                  <a:cubicBezTo>
                    <a:pt x="1816" y="1641"/>
                    <a:pt x="1816" y="1641"/>
                    <a:pt x="1816" y="1641"/>
                  </a:cubicBezTo>
                  <a:cubicBezTo>
                    <a:pt x="1812" y="1650"/>
                    <a:pt x="1812" y="1650"/>
                    <a:pt x="1812" y="1650"/>
                  </a:cubicBezTo>
                  <a:lnTo>
                    <a:pt x="1804" y="1648"/>
                  </a:lnTo>
                  <a:close/>
                  <a:moveTo>
                    <a:pt x="1812" y="1520"/>
                  </a:moveTo>
                  <a:cubicBezTo>
                    <a:pt x="1812" y="1532"/>
                    <a:pt x="1812" y="1532"/>
                    <a:pt x="1812" y="1532"/>
                  </a:cubicBezTo>
                  <a:cubicBezTo>
                    <a:pt x="1812" y="1543"/>
                    <a:pt x="1812" y="1543"/>
                    <a:pt x="1812" y="1543"/>
                  </a:cubicBezTo>
                  <a:cubicBezTo>
                    <a:pt x="1820" y="1543"/>
                    <a:pt x="1820" y="1543"/>
                    <a:pt x="1820" y="1543"/>
                  </a:cubicBezTo>
                  <a:cubicBezTo>
                    <a:pt x="1817" y="1533"/>
                    <a:pt x="1817" y="1533"/>
                    <a:pt x="1817" y="1533"/>
                  </a:cubicBezTo>
                  <a:cubicBezTo>
                    <a:pt x="1817" y="1526"/>
                    <a:pt x="1817" y="1526"/>
                    <a:pt x="1817" y="1526"/>
                  </a:cubicBezTo>
                  <a:cubicBezTo>
                    <a:pt x="1817" y="1519"/>
                    <a:pt x="1817" y="1519"/>
                    <a:pt x="1817" y="1519"/>
                  </a:cubicBezTo>
                  <a:cubicBezTo>
                    <a:pt x="1812" y="1520"/>
                    <a:pt x="1812" y="1520"/>
                    <a:pt x="1812" y="1520"/>
                  </a:cubicBezTo>
                  <a:close/>
                  <a:moveTo>
                    <a:pt x="1476" y="775"/>
                  </a:moveTo>
                  <a:cubicBezTo>
                    <a:pt x="1476" y="788"/>
                    <a:pt x="1476" y="788"/>
                    <a:pt x="1476" y="788"/>
                  </a:cubicBezTo>
                  <a:cubicBezTo>
                    <a:pt x="1475" y="799"/>
                    <a:pt x="1475" y="799"/>
                    <a:pt x="1475" y="799"/>
                  </a:cubicBezTo>
                  <a:cubicBezTo>
                    <a:pt x="1482" y="804"/>
                    <a:pt x="1482" y="804"/>
                    <a:pt x="1482" y="804"/>
                  </a:cubicBezTo>
                  <a:cubicBezTo>
                    <a:pt x="1486" y="810"/>
                    <a:pt x="1486" y="810"/>
                    <a:pt x="1486" y="810"/>
                  </a:cubicBezTo>
                  <a:cubicBezTo>
                    <a:pt x="1487" y="820"/>
                    <a:pt x="1487" y="820"/>
                    <a:pt x="1487" y="820"/>
                  </a:cubicBezTo>
                  <a:cubicBezTo>
                    <a:pt x="1496" y="823"/>
                    <a:pt x="1496" y="823"/>
                    <a:pt x="1496" y="823"/>
                  </a:cubicBezTo>
                  <a:cubicBezTo>
                    <a:pt x="1494" y="813"/>
                    <a:pt x="1494" y="813"/>
                    <a:pt x="1494" y="813"/>
                  </a:cubicBezTo>
                  <a:cubicBezTo>
                    <a:pt x="1490" y="805"/>
                    <a:pt x="1490" y="805"/>
                    <a:pt x="1490" y="805"/>
                  </a:cubicBezTo>
                  <a:cubicBezTo>
                    <a:pt x="1494" y="792"/>
                    <a:pt x="1494" y="792"/>
                    <a:pt x="1494" y="792"/>
                  </a:cubicBezTo>
                  <a:cubicBezTo>
                    <a:pt x="1494" y="775"/>
                    <a:pt x="1494" y="775"/>
                    <a:pt x="1494" y="775"/>
                  </a:cubicBezTo>
                  <a:cubicBezTo>
                    <a:pt x="1483" y="771"/>
                    <a:pt x="1483" y="771"/>
                    <a:pt x="1483" y="771"/>
                  </a:cubicBezTo>
                  <a:cubicBezTo>
                    <a:pt x="1476" y="775"/>
                    <a:pt x="1476" y="775"/>
                    <a:pt x="1476" y="775"/>
                  </a:cubicBezTo>
                  <a:close/>
                  <a:moveTo>
                    <a:pt x="1700" y="835"/>
                  </a:moveTo>
                  <a:cubicBezTo>
                    <a:pt x="1692" y="838"/>
                    <a:pt x="1692" y="838"/>
                    <a:pt x="1692" y="838"/>
                  </a:cubicBezTo>
                  <a:cubicBezTo>
                    <a:pt x="1696" y="847"/>
                    <a:pt x="1696" y="847"/>
                    <a:pt x="1696" y="847"/>
                  </a:cubicBezTo>
                  <a:cubicBezTo>
                    <a:pt x="1710" y="847"/>
                    <a:pt x="1710" y="847"/>
                    <a:pt x="1710" y="847"/>
                  </a:cubicBezTo>
                  <a:cubicBezTo>
                    <a:pt x="1724" y="847"/>
                    <a:pt x="1724" y="847"/>
                    <a:pt x="1724" y="847"/>
                  </a:cubicBezTo>
                  <a:cubicBezTo>
                    <a:pt x="1733" y="838"/>
                    <a:pt x="1733" y="838"/>
                    <a:pt x="1733" y="838"/>
                  </a:cubicBezTo>
                  <a:cubicBezTo>
                    <a:pt x="1722" y="835"/>
                    <a:pt x="1722" y="835"/>
                    <a:pt x="1722" y="835"/>
                  </a:cubicBezTo>
                  <a:cubicBezTo>
                    <a:pt x="1711" y="840"/>
                    <a:pt x="1711" y="840"/>
                    <a:pt x="1711" y="840"/>
                  </a:cubicBezTo>
                  <a:cubicBezTo>
                    <a:pt x="1700" y="835"/>
                    <a:pt x="1700" y="835"/>
                    <a:pt x="1700" y="835"/>
                  </a:cubicBezTo>
                  <a:close/>
                  <a:moveTo>
                    <a:pt x="1740" y="1261"/>
                  </a:moveTo>
                  <a:cubicBezTo>
                    <a:pt x="1737" y="1271"/>
                    <a:pt x="1737" y="1271"/>
                    <a:pt x="1737" y="1271"/>
                  </a:cubicBezTo>
                  <a:cubicBezTo>
                    <a:pt x="1731" y="1276"/>
                    <a:pt x="1731" y="1276"/>
                    <a:pt x="1731" y="1276"/>
                  </a:cubicBezTo>
                  <a:cubicBezTo>
                    <a:pt x="1737" y="1283"/>
                    <a:pt x="1737" y="1283"/>
                    <a:pt x="1737" y="1283"/>
                  </a:cubicBezTo>
                  <a:cubicBezTo>
                    <a:pt x="1741" y="1291"/>
                    <a:pt x="1741" y="1291"/>
                    <a:pt x="1741" y="1291"/>
                  </a:cubicBezTo>
                  <a:cubicBezTo>
                    <a:pt x="1740" y="1301"/>
                    <a:pt x="1740" y="1301"/>
                    <a:pt x="1740" y="1301"/>
                  </a:cubicBezTo>
                  <a:cubicBezTo>
                    <a:pt x="1739" y="1314"/>
                    <a:pt x="1739" y="1314"/>
                    <a:pt x="1739" y="1314"/>
                  </a:cubicBezTo>
                  <a:cubicBezTo>
                    <a:pt x="1746" y="1320"/>
                    <a:pt x="1746" y="1320"/>
                    <a:pt x="1746" y="1320"/>
                  </a:cubicBezTo>
                  <a:cubicBezTo>
                    <a:pt x="1752" y="1317"/>
                    <a:pt x="1752" y="1317"/>
                    <a:pt x="1752" y="1317"/>
                  </a:cubicBezTo>
                  <a:cubicBezTo>
                    <a:pt x="1752" y="1303"/>
                    <a:pt x="1752" y="1303"/>
                    <a:pt x="1752" y="1303"/>
                  </a:cubicBezTo>
                  <a:cubicBezTo>
                    <a:pt x="1758" y="1297"/>
                    <a:pt x="1758" y="1297"/>
                    <a:pt x="1758" y="1297"/>
                  </a:cubicBezTo>
                  <a:cubicBezTo>
                    <a:pt x="1753" y="1285"/>
                    <a:pt x="1753" y="1285"/>
                    <a:pt x="1753" y="1285"/>
                  </a:cubicBezTo>
                  <a:cubicBezTo>
                    <a:pt x="1745" y="1277"/>
                    <a:pt x="1745" y="1277"/>
                    <a:pt x="1745" y="1277"/>
                  </a:cubicBezTo>
                  <a:cubicBezTo>
                    <a:pt x="1746" y="1266"/>
                    <a:pt x="1746" y="1266"/>
                    <a:pt x="1746" y="1266"/>
                  </a:cubicBezTo>
                  <a:cubicBezTo>
                    <a:pt x="1740" y="1261"/>
                    <a:pt x="1740" y="1261"/>
                    <a:pt x="1740" y="1261"/>
                  </a:cubicBezTo>
                  <a:close/>
                  <a:moveTo>
                    <a:pt x="1765" y="1351"/>
                  </a:moveTo>
                  <a:cubicBezTo>
                    <a:pt x="1765" y="1359"/>
                    <a:pt x="1765" y="1359"/>
                    <a:pt x="1765" y="1359"/>
                  </a:cubicBezTo>
                  <a:cubicBezTo>
                    <a:pt x="1771" y="1362"/>
                    <a:pt x="1771" y="1362"/>
                    <a:pt x="1771" y="1362"/>
                  </a:cubicBezTo>
                  <a:cubicBezTo>
                    <a:pt x="1775" y="1357"/>
                    <a:pt x="1775" y="1357"/>
                    <a:pt x="1775" y="1357"/>
                  </a:cubicBezTo>
                  <a:lnTo>
                    <a:pt x="1765" y="1351"/>
                  </a:lnTo>
                  <a:close/>
                  <a:moveTo>
                    <a:pt x="1749" y="805"/>
                  </a:moveTo>
                  <a:cubicBezTo>
                    <a:pt x="1742" y="811"/>
                    <a:pt x="1742" y="811"/>
                    <a:pt x="1742" y="811"/>
                  </a:cubicBezTo>
                  <a:cubicBezTo>
                    <a:pt x="1746" y="815"/>
                    <a:pt x="1746" y="815"/>
                    <a:pt x="1746" y="815"/>
                  </a:cubicBezTo>
                  <a:cubicBezTo>
                    <a:pt x="1751" y="809"/>
                    <a:pt x="1751" y="809"/>
                    <a:pt x="1751" y="809"/>
                  </a:cubicBezTo>
                  <a:cubicBezTo>
                    <a:pt x="1757" y="804"/>
                    <a:pt x="1757" y="804"/>
                    <a:pt x="1757" y="804"/>
                  </a:cubicBezTo>
                  <a:cubicBezTo>
                    <a:pt x="1749" y="805"/>
                    <a:pt x="1749" y="805"/>
                    <a:pt x="1749" y="805"/>
                  </a:cubicBezTo>
                  <a:close/>
                  <a:moveTo>
                    <a:pt x="986" y="112"/>
                  </a:moveTo>
                  <a:cubicBezTo>
                    <a:pt x="981" y="110"/>
                    <a:pt x="981" y="110"/>
                    <a:pt x="981" y="110"/>
                  </a:cubicBezTo>
                  <a:cubicBezTo>
                    <a:pt x="976" y="115"/>
                    <a:pt x="976" y="115"/>
                    <a:pt x="976" y="115"/>
                  </a:cubicBezTo>
                  <a:cubicBezTo>
                    <a:pt x="966" y="120"/>
                    <a:pt x="966" y="120"/>
                    <a:pt x="966" y="120"/>
                  </a:cubicBezTo>
                  <a:cubicBezTo>
                    <a:pt x="958" y="128"/>
                    <a:pt x="958" y="128"/>
                    <a:pt x="958" y="128"/>
                  </a:cubicBezTo>
                  <a:cubicBezTo>
                    <a:pt x="958" y="142"/>
                    <a:pt x="958" y="142"/>
                    <a:pt x="958" y="142"/>
                  </a:cubicBezTo>
                  <a:cubicBezTo>
                    <a:pt x="955" y="146"/>
                    <a:pt x="955" y="146"/>
                    <a:pt x="955" y="146"/>
                  </a:cubicBezTo>
                  <a:cubicBezTo>
                    <a:pt x="957" y="157"/>
                    <a:pt x="957" y="157"/>
                    <a:pt x="957" y="157"/>
                  </a:cubicBezTo>
                  <a:cubicBezTo>
                    <a:pt x="963" y="167"/>
                    <a:pt x="963" y="167"/>
                    <a:pt x="963" y="167"/>
                  </a:cubicBezTo>
                  <a:cubicBezTo>
                    <a:pt x="970" y="183"/>
                    <a:pt x="970" y="183"/>
                    <a:pt x="970" y="183"/>
                  </a:cubicBezTo>
                  <a:cubicBezTo>
                    <a:pt x="981" y="185"/>
                    <a:pt x="981" y="185"/>
                    <a:pt x="981" y="185"/>
                  </a:cubicBezTo>
                  <a:cubicBezTo>
                    <a:pt x="988" y="178"/>
                    <a:pt x="988" y="178"/>
                    <a:pt x="988" y="178"/>
                  </a:cubicBezTo>
                  <a:cubicBezTo>
                    <a:pt x="993" y="168"/>
                    <a:pt x="993" y="168"/>
                    <a:pt x="993" y="168"/>
                  </a:cubicBezTo>
                  <a:cubicBezTo>
                    <a:pt x="987" y="162"/>
                    <a:pt x="987" y="162"/>
                    <a:pt x="987" y="162"/>
                  </a:cubicBezTo>
                  <a:cubicBezTo>
                    <a:pt x="996" y="149"/>
                    <a:pt x="996" y="149"/>
                    <a:pt x="996" y="149"/>
                  </a:cubicBezTo>
                  <a:cubicBezTo>
                    <a:pt x="994" y="135"/>
                    <a:pt x="994" y="135"/>
                    <a:pt x="994" y="135"/>
                  </a:cubicBezTo>
                  <a:cubicBezTo>
                    <a:pt x="994" y="118"/>
                    <a:pt x="994" y="118"/>
                    <a:pt x="994" y="118"/>
                  </a:cubicBezTo>
                  <a:lnTo>
                    <a:pt x="986" y="112"/>
                  </a:lnTo>
                  <a:close/>
                  <a:moveTo>
                    <a:pt x="1116" y="1558"/>
                  </a:moveTo>
                  <a:cubicBezTo>
                    <a:pt x="1110" y="1564"/>
                    <a:pt x="1110" y="1564"/>
                    <a:pt x="1110" y="1564"/>
                  </a:cubicBezTo>
                  <a:cubicBezTo>
                    <a:pt x="1110" y="1572"/>
                    <a:pt x="1110" y="1572"/>
                    <a:pt x="1110" y="1572"/>
                  </a:cubicBezTo>
                  <a:cubicBezTo>
                    <a:pt x="1110" y="1581"/>
                    <a:pt x="1110" y="1581"/>
                    <a:pt x="1110" y="1581"/>
                  </a:cubicBezTo>
                  <a:cubicBezTo>
                    <a:pt x="1120" y="1577"/>
                    <a:pt x="1120" y="1577"/>
                    <a:pt x="1120" y="1577"/>
                  </a:cubicBezTo>
                  <a:cubicBezTo>
                    <a:pt x="1125" y="1582"/>
                    <a:pt x="1125" y="1582"/>
                    <a:pt x="1125" y="1582"/>
                  </a:cubicBezTo>
                  <a:cubicBezTo>
                    <a:pt x="1131" y="1576"/>
                    <a:pt x="1131" y="1576"/>
                    <a:pt x="1131" y="1576"/>
                  </a:cubicBezTo>
                  <a:cubicBezTo>
                    <a:pt x="1133" y="1565"/>
                    <a:pt x="1133" y="1565"/>
                    <a:pt x="1133" y="1565"/>
                  </a:cubicBezTo>
                  <a:cubicBezTo>
                    <a:pt x="1127" y="1555"/>
                    <a:pt x="1127" y="1555"/>
                    <a:pt x="1127" y="1555"/>
                  </a:cubicBezTo>
                  <a:lnTo>
                    <a:pt x="1116" y="1558"/>
                  </a:lnTo>
                  <a:close/>
                  <a:moveTo>
                    <a:pt x="456" y="531"/>
                  </a:moveTo>
                  <a:cubicBezTo>
                    <a:pt x="454" y="527"/>
                    <a:pt x="454" y="527"/>
                    <a:pt x="454" y="527"/>
                  </a:cubicBezTo>
                  <a:cubicBezTo>
                    <a:pt x="464" y="531"/>
                    <a:pt x="464" y="531"/>
                    <a:pt x="464" y="531"/>
                  </a:cubicBezTo>
                  <a:cubicBezTo>
                    <a:pt x="468" y="526"/>
                    <a:pt x="468" y="526"/>
                    <a:pt x="468" y="526"/>
                  </a:cubicBezTo>
                  <a:cubicBezTo>
                    <a:pt x="474" y="520"/>
                    <a:pt x="474" y="520"/>
                    <a:pt x="474" y="520"/>
                  </a:cubicBezTo>
                  <a:cubicBezTo>
                    <a:pt x="484" y="510"/>
                    <a:pt x="484" y="510"/>
                    <a:pt x="484" y="510"/>
                  </a:cubicBezTo>
                  <a:cubicBezTo>
                    <a:pt x="490" y="517"/>
                    <a:pt x="490" y="517"/>
                    <a:pt x="490" y="517"/>
                  </a:cubicBezTo>
                  <a:cubicBezTo>
                    <a:pt x="493" y="517"/>
                    <a:pt x="493" y="517"/>
                    <a:pt x="493" y="517"/>
                  </a:cubicBezTo>
                  <a:cubicBezTo>
                    <a:pt x="500" y="510"/>
                    <a:pt x="500" y="510"/>
                    <a:pt x="500" y="510"/>
                  </a:cubicBezTo>
                  <a:cubicBezTo>
                    <a:pt x="507" y="502"/>
                    <a:pt x="507" y="502"/>
                    <a:pt x="507" y="502"/>
                  </a:cubicBezTo>
                  <a:cubicBezTo>
                    <a:pt x="520" y="496"/>
                    <a:pt x="520" y="496"/>
                    <a:pt x="520" y="496"/>
                  </a:cubicBezTo>
                  <a:cubicBezTo>
                    <a:pt x="530" y="503"/>
                    <a:pt x="530" y="503"/>
                    <a:pt x="530" y="503"/>
                  </a:cubicBezTo>
                  <a:cubicBezTo>
                    <a:pt x="525" y="518"/>
                    <a:pt x="525" y="518"/>
                    <a:pt x="525" y="518"/>
                  </a:cubicBezTo>
                  <a:cubicBezTo>
                    <a:pt x="525" y="527"/>
                    <a:pt x="525" y="527"/>
                    <a:pt x="525" y="527"/>
                  </a:cubicBezTo>
                  <a:cubicBezTo>
                    <a:pt x="518" y="533"/>
                    <a:pt x="518" y="533"/>
                    <a:pt x="518" y="533"/>
                  </a:cubicBezTo>
                  <a:cubicBezTo>
                    <a:pt x="508" y="537"/>
                    <a:pt x="508" y="537"/>
                    <a:pt x="508" y="537"/>
                  </a:cubicBezTo>
                  <a:cubicBezTo>
                    <a:pt x="497" y="542"/>
                    <a:pt x="497" y="542"/>
                    <a:pt x="497" y="542"/>
                  </a:cubicBezTo>
                  <a:cubicBezTo>
                    <a:pt x="487" y="542"/>
                    <a:pt x="487" y="542"/>
                    <a:pt x="487" y="542"/>
                  </a:cubicBezTo>
                  <a:cubicBezTo>
                    <a:pt x="478" y="550"/>
                    <a:pt x="478" y="550"/>
                    <a:pt x="478" y="550"/>
                  </a:cubicBezTo>
                  <a:cubicBezTo>
                    <a:pt x="465" y="545"/>
                    <a:pt x="465" y="545"/>
                    <a:pt x="465" y="545"/>
                  </a:cubicBezTo>
                  <a:cubicBezTo>
                    <a:pt x="459" y="536"/>
                    <a:pt x="459" y="536"/>
                    <a:pt x="459" y="536"/>
                  </a:cubicBezTo>
                  <a:cubicBezTo>
                    <a:pt x="456" y="531"/>
                    <a:pt x="456" y="531"/>
                    <a:pt x="456" y="531"/>
                  </a:cubicBezTo>
                  <a:close/>
                  <a:moveTo>
                    <a:pt x="433" y="544"/>
                  </a:moveTo>
                  <a:cubicBezTo>
                    <a:pt x="414" y="544"/>
                    <a:pt x="414" y="544"/>
                    <a:pt x="414" y="544"/>
                  </a:cubicBezTo>
                  <a:cubicBezTo>
                    <a:pt x="408" y="550"/>
                    <a:pt x="408" y="550"/>
                    <a:pt x="408" y="550"/>
                  </a:cubicBezTo>
                  <a:cubicBezTo>
                    <a:pt x="398" y="557"/>
                    <a:pt x="398" y="557"/>
                    <a:pt x="398" y="557"/>
                  </a:cubicBezTo>
                  <a:cubicBezTo>
                    <a:pt x="390" y="550"/>
                    <a:pt x="390" y="550"/>
                    <a:pt x="390" y="550"/>
                  </a:cubicBezTo>
                  <a:cubicBezTo>
                    <a:pt x="373" y="556"/>
                    <a:pt x="373" y="556"/>
                    <a:pt x="373" y="556"/>
                  </a:cubicBezTo>
                  <a:cubicBezTo>
                    <a:pt x="374" y="566"/>
                    <a:pt x="374" y="566"/>
                    <a:pt x="374" y="566"/>
                  </a:cubicBezTo>
                  <a:cubicBezTo>
                    <a:pt x="379" y="571"/>
                    <a:pt x="379" y="571"/>
                    <a:pt x="379" y="571"/>
                  </a:cubicBezTo>
                  <a:cubicBezTo>
                    <a:pt x="385" y="578"/>
                    <a:pt x="385" y="578"/>
                    <a:pt x="385" y="578"/>
                  </a:cubicBezTo>
                  <a:cubicBezTo>
                    <a:pt x="390" y="582"/>
                    <a:pt x="390" y="582"/>
                    <a:pt x="390" y="582"/>
                  </a:cubicBezTo>
                  <a:cubicBezTo>
                    <a:pt x="383" y="588"/>
                    <a:pt x="383" y="588"/>
                    <a:pt x="383" y="588"/>
                  </a:cubicBezTo>
                  <a:cubicBezTo>
                    <a:pt x="374" y="580"/>
                    <a:pt x="374" y="580"/>
                    <a:pt x="374" y="580"/>
                  </a:cubicBezTo>
                  <a:cubicBezTo>
                    <a:pt x="369" y="585"/>
                    <a:pt x="369" y="585"/>
                    <a:pt x="369" y="585"/>
                  </a:cubicBezTo>
                  <a:cubicBezTo>
                    <a:pt x="363" y="578"/>
                    <a:pt x="363" y="578"/>
                    <a:pt x="363" y="578"/>
                  </a:cubicBezTo>
                  <a:cubicBezTo>
                    <a:pt x="347" y="581"/>
                    <a:pt x="347" y="581"/>
                    <a:pt x="347" y="581"/>
                  </a:cubicBezTo>
                  <a:cubicBezTo>
                    <a:pt x="341" y="577"/>
                    <a:pt x="341" y="577"/>
                    <a:pt x="341" y="577"/>
                  </a:cubicBezTo>
                  <a:cubicBezTo>
                    <a:pt x="338" y="585"/>
                    <a:pt x="338" y="585"/>
                    <a:pt x="338" y="585"/>
                  </a:cubicBezTo>
                  <a:cubicBezTo>
                    <a:pt x="343" y="590"/>
                    <a:pt x="343" y="590"/>
                    <a:pt x="343" y="590"/>
                  </a:cubicBezTo>
                  <a:cubicBezTo>
                    <a:pt x="333" y="595"/>
                    <a:pt x="333" y="595"/>
                    <a:pt x="333" y="595"/>
                  </a:cubicBezTo>
                  <a:cubicBezTo>
                    <a:pt x="333" y="606"/>
                    <a:pt x="333" y="606"/>
                    <a:pt x="333" y="606"/>
                  </a:cubicBezTo>
                  <a:cubicBezTo>
                    <a:pt x="341" y="614"/>
                    <a:pt x="341" y="614"/>
                    <a:pt x="341" y="614"/>
                  </a:cubicBezTo>
                  <a:cubicBezTo>
                    <a:pt x="339" y="622"/>
                    <a:pt x="339" y="622"/>
                    <a:pt x="339" y="622"/>
                  </a:cubicBezTo>
                  <a:cubicBezTo>
                    <a:pt x="346" y="622"/>
                    <a:pt x="346" y="622"/>
                    <a:pt x="346" y="622"/>
                  </a:cubicBezTo>
                  <a:cubicBezTo>
                    <a:pt x="354" y="631"/>
                    <a:pt x="354" y="631"/>
                    <a:pt x="354" y="631"/>
                  </a:cubicBezTo>
                  <a:cubicBezTo>
                    <a:pt x="352" y="640"/>
                    <a:pt x="352" y="640"/>
                    <a:pt x="352" y="640"/>
                  </a:cubicBezTo>
                  <a:cubicBezTo>
                    <a:pt x="363" y="646"/>
                    <a:pt x="363" y="646"/>
                    <a:pt x="363" y="646"/>
                  </a:cubicBezTo>
                  <a:cubicBezTo>
                    <a:pt x="377" y="646"/>
                    <a:pt x="377" y="646"/>
                    <a:pt x="377" y="646"/>
                  </a:cubicBezTo>
                  <a:cubicBezTo>
                    <a:pt x="383" y="652"/>
                    <a:pt x="383" y="652"/>
                    <a:pt x="383" y="652"/>
                  </a:cubicBezTo>
                  <a:cubicBezTo>
                    <a:pt x="394" y="652"/>
                    <a:pt x="394" y="652"/>
                    <a:pt x="394" y="652"/>
                  </a:cubicBezTo>
                  <a:cubicBezTo>
                    <a:pt x="407" y="649"/>
                    <a:pt x="407" y="649"/>
                    <a:pt x="407" y="649"/>
                  </a:cubicBezTo>
                  <a:cubicBezTo>
                    <a:pt x="407" y="639"/>
                    <a:pt x="407" y="639"/>
                    <a:pt x="407" y="639"/>
                  </a:cubicBezTo>
                  <a:cubicBezTo>
                    <a:pt x="399" y="632"/>
                    <a:pt x="399" y="632"/>
                    <a:pt x="399" y="632"/>
                  </a:cubicBezTo>
                  <a:cubicBezTo>
                    <a:pt x="403" y="628"/>
                    <a:pt x="403" y="628"/>
                    <a:pt x="403" y="628"/>
                  </a:cubicBezTo>
                  <a:cubicBezTo>
                    <a:pt x="409" y="634"/>
                    <a:pt x="409" y="634"/>
                    <a:pt x="409" y="634"/>
                  </a:cubicBezTo>
                  <a:cubicBezTo>
                    <a:pt x="421" y="614"/>
                    <a:pt x="421" y="614"/>
                    <a:pt x="421" y="614"/>
                  </a:cubicBezTo>
                  <a:cubicBezTo>
                    <a:pt x="431" y="603"/>
                    <a:pt x="431" y="603"/>
                    <a:pt x="431" y="603"/>
                  </a:cubicBezTo>
                  <a:cubicBezTo>
                    <a:pt x="436" y="608"/>
                    <a:pt x="436" y="608"/>
                    <a:pt x="436" y="608"/>
                  </a:cubicBezTo>
                  <a:cubicBezTo>
                    <a:pt x="445" y="598"/>
                    <a:pt x="445" y="598"/>
                    <a:pt x="445" y="598"/>
                  </a:cubicBezTo>
                  <a:cubicBezTo>
                    <a:pt x="448" y="589"/>
                    <a:pt x="448" y="589"/>
                    <a:pt x="448" y="589"/>
                  </a:cubicBezTo>
                  <a:cubicBezTo>
                    <a:pt x="438" y="585"/>
                    <a:pt x="438" y="585"/>
                    <a:pt x="438" y="585"/>
                  </a:cubicBezTo>
                  <a:cubicBezTo>
                    <a:pt x="430" y="592"/>
                    <a:pt x="430" y="592"/>
                    <a:pt x="430" y="592"/>
                  </a:cubicBezTo>
                  <a:cubicBezTo>
                    <a:pt x="421" y="586"/>
                    <a:pt x="421" y="586"/>
                    <a:pt x="421" y="586"/>
                  </a:cubicBezTo>
                  <a:cubicBezTo>
                    <a:pt x="410" y="579"/>
                    <a:pt x="410" y="579"/>
                    <a:pt x="410" y="579"/>
                  </a:cubicBezTo>
                  <a:cubicBezTo>
                    <a:pt x="399" y="571"/>
                    <a:pt x="399" y="571"/>
                    <a:pt x="399" y="571"/>
                  </a:cubicBezTo>
                  <a:cubicBezTo>
                    <a:pt x="403" y="563"/>
                    <a:pt x="403" y="563"/>
                    <a:pt x="403" y="563"/>
                  </a:cubicBezTo>
                  <a:cubicBezTo>
                    <a:pt x="409" y="558"/>
                    <a:pt x="409" y="558"/>
                    <a:pt x="409" y="558"/>
                  </a:cubicBezTo>
                  <a:cubicBezTo>
                    <a:pt x="413" y="573"/>
                    <a:pt x="413" y="573"/>
                    <a:pt x="413" y="573"/>
                  </a:cubicBezTo>
                  <a:cubicBezTo>
                    <a:pt x="420" y="580"/>
                    <a:pt x="420" y="580"/>
                    <a:pt x="420" y="580"/>
                  </a:cubicBezTo>
                  <a:cubicBezTo>
                    <a:pt x="432" y="582"/>
                    <a:pt x="432" y="582"/>
                    <a:pt x="432" y="582"/>
                  </a:cubicBezTo>
                  <a:cubicBezTo>
                    <a:pt x="439" y="579"/>
                    <a:pt x="439" y="579"/>
                    <a:pt x="439" y="579"/>
                  </a:cubicBezTo>
                  <a:cubicBezTo>
                    <a:pt x="445" y="579"/>
                    <a:pt x="445" y="579"/>
                    <a:pt x="445" y="579"/>
                  </a:cubicBezTo>
                  <a:cubicBezTo>
                    <a:pt x="451" y="573"/>
                    <a:pt x="451" y="573"/>
                    <a:pt x="451" y="573"/>
                  </a:cubicBezTo>
                  <a:cubicBezTo>
                    <a:pt x="448" y="560"/>
                    <a:pt x="448" y="560"/>
                    <a:pt x="448" y="560"/>
                  </a:cubicBezTo>
                  <a:cubicBezTo>
                    <a:pt x="439" y="560"/>
                    <a:pt x="439" y="560"/>
                    <a:pt x="439" y="560"/>
                  </a:cubicBezTo>
                  <a:cubicBezTo>
                    <a:pt x="441" y="550"/>
                    <a:pt x="441" y="550"/>
                    <a:pt x="441" y="550"/>
                  </a:cubicBezTo>
                  <a:cubicBezTo>
                    <a:pt x="441" y="542"/>
                    <a:pt x="441" y="542"/>
                    <a:pt x="441" y="542"/>
                  </a:cubicBezTo>
                  <a:cubicBezTo>
                    <a:pt x="433" y="544"/>
                    <a:pt x="433" y="544"/>
                    <a:pt x="433" y="544"/>
                  </a:cubicBezTo>
                  <a:close/>
                  <a:moveTo>
                    <a:pt x="444" y="651"/>
                  </a:moveTo>
                  <a:cubicBezTo>
                    <a:pt x="438" y="655"/>
                    <a:pt x="438" y="655"/>
                    <a:pt x="438" y="655"/>
                  </a:cubicBezTo>
                  <a:cubicBezTo>
                    <a:pt x="442" y="667"/>
                    <a:pt x="442" y="667"/>
                    <a:pt x="442" y="667"/>
                  </a:cubicBezTo>
                  <a:cubicBezTo>
                    <a:pt x="449" y="674"/>
                    <a:pt x="449" y="674"/>
                    <a:pt x="449" y="674"/>
                  </a:cubicBezTo>
                  <a:cubicBezTo>
                    <a:pt x="455" y="663"/>
                    <a:pt x="455" y="663"/>
                    <a:pt x="455" y="663"/>
                  </a:cubicBezTo>
                  <a:cubicBezTo>
                    <a:pt x="455" y="654"/>
                    <a:pt x="455" y="654"/>
                    <a:pt x="455" y="654"/>
                  </a:cubicBezTo>
                  <a:cubicBezTo>
                    <a:pt x="451" y="650"/>
                    <a:pt x="451" y="650"/>
                    <a:pt x="451" y="650"/>
                  </a:cubicBezTo>
                  <a:lnTo>
                    <a:pt x="444" y="651"/>
                  </a:lnTo>
                  <a:close/>
                  <a:moveTo>
                    <a:pt x="468" y="661"/>
                  </a:moveTo>
                  <a:cubicBezTo>
                    <a:pt x="461" y="668"/>
                    <a:pt x="461" y="668"/>
                    <a:pt x="461" y="668"/>
                  </a:cubicBezTo>
                  <a:cubicBezTo>
                    <a:pt x="465" y="678"/>
                    <a:pt x="465" y="678"/>
                    <a:pt x="465" y="678"/>
                  </a:cubicBezTo>
                  <a:cubicBezTo>
                    <a:pt x="472" y="684"/>
                    <a:pt x="472" y="684"/>
                    <a:pt x="472" y="684"/>
                  </a:cubicBezTo>
                  <a:cubicBezTo>
                    <a:pt x="468" y="694"/>
                    <a:pt x="468" y="694"/>
                    <a:pt x="468" y="694"/>
                  </a:cubicBezTo>
                  <a:cubicBezTo>
                    <a:pt x="471" y="698"/>
                    <a:pt x="471" y="698"/>
                    <a:pt x="471" y="698"/>
                  </a:cubicBezTo>
                  <a:cubicBezTo>
                    <a:pt x="477" y="686"/>
                    <a:pt x="477" y="686"/>
                    <a:pt x="477" y="686"/>
                  </a:cubicBezTo>
                  <a:cubicBezTo>
                    <a:pt x="491" y="683"/>
                    <a:pt x="491" y="683"/>
                    <a:pt x="491" y="683"/>
                  </a:cubicBezTo>
                  <a:cubicBezTo>
                    <a:pt x="503" y="678"/>
                    <a:pt x="503" y="678"/>
                    <a:pt x="503" y="678"/>
                  </a:cubicBezTo>
                  <a:cubicBezTo>
                    <a:pt x="519" y="669"/>
                    <a:pt x="519" y="669"/>
                    <a:pt x="519" y="669"/>
                  </a:cubicBezTo>
                  <a:cubicBezTo>
                    <a:pt x="511" y="653"/>
                    <a:pt x="511" y="653"/>
                    <a:pt x="511" y="653"/>
                  </a:cubicBezTo>
                  <a:cubicBezTo>
                    <a:pt x="499" y="653"/>
                    <a:pt x="499" y="653"/>
                    <a:pt x="499" y="653"/>
                  </a:cubicBezTo>
                  <a:cubicBezTo>
                    <a:pt x="483" y="648"/>
                    <a:pt x="483" y="648"/>
                    <a:pt x="483" y="648"/>
                  </a:cubicBezTo>
                  <a:cubicBezTo>
                    <a:pt x="475" y="654"/>
                    <a:pt x="475" y="654"/>
                    <a:pt x="475" y="654"/>
                  </a:cubicBezTo>
                  <a:cubicBezTo>
                    <a:pt x="468" y="661"/>
                    <a:pt x="468" y="661"/>
                    <a:pt x="468" y="661"/>
                  </a:cubicBezTo>
                  <a:close/>
                  <a:moveTo>
                    <a:pt x="332" y="635"/>
                  </a:moveTo>
                  <a:cubicBezTo>
                    <a:pt x="327" y="630"/>
                    <a:pt x="327" y="630"/>
                    <a:pt x="327" y="630"/>
                  </a:cubicBezTo>
                  <a:cubicBezTo>
                    <a:pt x="317" y="629"/>
                    <a:pt x="317" y="629"/>
                    <a:pt x="317" y="629"/>
                  </a:cubicBezTo>
                  <a:cubicBezTo>
                    <a:pt x="323" y="636"/>
                    <a:pt x="323" y="636"/>
                    <a:pt x="323" y="636"/>
                  </a:cubicBezTo>
                  <a:cubicBezTo>
                    <a:pt x="327" y="650"/>
                    <a:pt x="327" y="650"/>
                    <a:pt x="327" y="650"/>
                  </a:cubicBezTo>
                  <a:cubicBezTo>
                    <a:pt x="335" y="650"/>
                    <a:pt x="335" y="650"/>
                    <a:pt x="335" y="650"/>
                  </a:cubicBezTo>
                  <a:cubicBezTo>
                    <a:pt x="335" y="642"/>
                    <a:pt x="335" y="642"/>
                    <a:pt x="335" y="642"/>
                  </a:cubicBezTo>
                  <a:lnTo>
                    <a:pt x="332" y="635"/>
                  </a:lnTo>
                  <a:close/>
                  <a:moveTo>
                    <a:pt x="30" y="871"/>
                  </a:moveTo>
                  <a:cubicBezTo>
                    <a:pt x="19" y="882"/>
                    <a:pt x="19" y="882"/>
                    <a:pt x="19" y="882"/>
                  </a:cubicBezTo>
                  <a:cubicBezTo>
                    <a:pt x="19" y="890"/>
                    <a:pt x="19" y="890"/>
                    <a:pt x="19" y="890"/>
                  </a:cubicBezTo>
                  <a:cubicBezTo>
                    <a:pt x="28" y="890"/>
                    <a:pt x="28" y="890"/>
                    <a:pt x="28" y="890"/>
                  </a:cubicBezTo>
                  <a:cubicBezTo>
                    <a:pt x="31" y="897"/>
                    <a:pt x="31" y="897"/>
                    <a:pt x="31" y="897"/>
                  </a:cubicBezTo>
                  <a:cubicBezTo>
                    <a:pt x="39" y="893"/>
                    <a:pt x="39" y="893"/>
                    <a:pt x="39" y="893"/>
                  </a:cubicBezTo>
                  <a:cubicBezTo>
                    <a:pt x="48" y="884"/>
                    <a:pt x="48" y="884"/>
                    <a:pt x="48" y="884"/>
                  </a:cubicBezTo>
                  <a:cubicBezTo>
                    <a:pt x="48" y="870"/>
                    <a:pt x="48" y="870"/>
                    <a:pt x="48" y="870"/>
                  </a:cubicBezTo>
                  <a:cubicBezTo>
                    <a:pt x="36" y="870"/>
                    <a:pt x="36" y="870"/>
                    <a:pt x="36" y="870"/>
                  </a:cubicBezTo>
                  <a:cubicBezTo>
                    <a:pt x="30" y="871"/>
                    <a:pt x="30" y="871"/>
                    <a:pt x="30" y="871"/>
                  </a:cubicBezTo>
                  <a:close/>
                  <a:moveTo>
                    <a:pt x="424" y="445"/>
                  </a:moveTo>
                  <a:cubicBezTo>
                    <a:pt x="421" y="452"/>
                    <a:pt x="421" y="452"/>
                    <a:pt x="421" y="452"/>
                  </a:cubicBezTo>
                  <a:cubicBezTo>
                    <a:pt x="424" y="455"/>
                    <a:pt x="424" y="455"/>
                    <a:pt x="424" y="455"/>
                  </a:cubicBezTo>
                  <a:cubicBezTo>
                    <a:pt x="429" y="452"/>
                    <a:pt x="429" y="452"/>
                    <a:pt x="429" y="452"/>
                  </a:cubicBezTo>
                  <a:lnTo>
                    <a:pt x="424" y="445"/>
                  </a:lnTo>
                  <a:close/>
                  <a:moveTo>
                    <a:pt x="390" y="709"/>
                  </a:moveTo>
                  <a:cubicBezTo>
                    <a:pt x="379" y="707"/>
                    <a:pt x="379" y="707"/>
                    <a:pt x="379" y="707"/>
                  </a:cubicBezTo>
                  <a:cubicBezTo>
                    <a:pt x="375" y="710"/>
                    <a:pt x="375" y="710"/>
                    <a:pt x="375" y="710"/>
                  </a:cubicBezTo>
                  <a:cubicBezTo>
                    <a:pt x="382" y="713"/>
                    <a:pt x="382" y="713"/>
                    <a:pt x="382" y="713"/>
                  </a:cubicBezTo>
                  <a:cubicBezTo>
                    <a:pt x="390" y="720"/>
                    <a:pt x="390" y="720"/>
                    <a:pt x="390" y="720"/>
                  </a:cubicBezTo>
                  <a:cubicBezTo>
                    <a:pt x="394" y="715"/>
                    <a:pt x="394" y="715"/>
                    <a:pt x="394" y="715"/>
                  </a:cubicBezTo>
                  <a:lnTo>
                    <a:pt x="390" y="709"/>
                  </a:lnTo>
                  <a:close/>
                </a:path>
              </a:pathLst>
            </a:custGeom>
            <a:solidFill>
              <a:srgbClr val="293D6D"/>
            </a:solidFill>
            <a:ln w="7938" cap="flat">
              <a:solidFill>
                <a:sysClr val="window" lastClr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F17C32BC-B5D0-83F9-7D14-DB6EEDDD28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2" y="517"/>
              <a:ext cx="2304" cy="1513"/>
            </a:xfrm>
            <a:custGeom>
              <a:avLst/>
              <a:gdLst>
                <a:gd name="T0" fmla="*/ 1196 w 2304"/>
                <a:gd name="T1" fmla="*/ 466 h 1513"/>
                <a:gd name="T2" fmla="*/ 1234 w 2304"/>
                <a:gd name="T3" fmla="*/ 561 h 1513"/>
                <a:gd name="T4" fmla="*/ 1282 w 2304"/>
                <a:gd name="T5" fmla="*/ 801 h 1513"/>
                <a:gd name="T6" fmla="*/ 1081 w 2304"/>
                <a:gd name="T7" fmla="*/ 720 h 1513"/>
                <a:gd name="T8" fmla="*/ 1053 w 2304"/>
                <a:gd name="T9" fmla="*/ 748 h 1513"/>
                <a:gd name="T10" fmla="*/ 1032 w 2304"/>
                <a:gd name="T11" fmla="*/ 900 h 1513"/>
                <a:gd name="T12" fmla="*/ 1141 w 2304"/>
                <a:gd name="T13" fmla="*/ 924 h 1513"/>
                <a:gd name="T14" fmla="*/ 1297 w 2304"/>
                <a:gd name="T15" fmla="*/ 927 h 1513"/>
                <a:gd name="T16" fmla="*/ 1425 w 2304"/>
                <a:gd name="T17" fmla="*/ 808 h 1513"/>
                <a:gd name="T18" fmla="*/ 1413 w 2304"/>
                <a:gd name="T19" fmla="*/ 955 h 1513"/>
                <a:gd name="T20" fmla="*/ 1603 w 2304"/>
                <a:gd name="T21" fmla="*/ 928 h 1513"/>
                <a:gd name="T22" fmla="*/ 1741 w 2304"/>
                <a:gd name="T23" fmla="*/ 993 h 1513"/>
                <a:gd name="T24" fmla="*/ 1836 w 2304"/>
                <a:gd name="T25" fmla="*/ 1009 h 1513"/>
                <a:gd name="T26" fmla="*/ 1935 w 2304"/>
                <a:gd name="T27" fmla="*/ 1048 h 1513"/>
                <a:gd name="T28" fmla="*/ 1942 w 2304"/>
                <a:gd name="T29" fmla="*/ 1151 h 1513"/>
                <a:gd name="T30" fmla="*/ 1752 w 2304"/>
                <a:gd name="T31" fmla="*/ 1262 h 1513"/>
                <a:gd name="T32" fmla="*/ 1623 w 2304"/>
                <a:gd name="T33" fmla="*/ 1378 h 1513"/>
                <a:gd name="T34" fmla="*/ 1477 w 2304"/>
                <a:gd name="T35" fmla="*/ 1489 h 1513"/>
                <a:gd name="T36" fmla="*/ 1334 w 2304"/>
                <a:gd name="T37" fmla="*/ 1473 h 1513"/>
                <a:gd name="T38" fmla="*/ 1258 w 2304"/>
                <a:gd name="T39" fmla="*/ 1478 h 1513"/>
                <a:gd name="T40" fmla="*/ 1133 w 2304"/>
                <a:gd name="T41" fmla="*/ 1494 h 1513"/>
                <a:gd name="T42" fmla="*/ 1154 w 2304"/>
                <a:gd name="T43" fmla="*/ 1358 h 1513"/>
                <a:gd name="T44" fmla="*/ 1074 w 2304"/>
                <a:gd name="T45" fmla="*/ 1394 h 1513"/>
                <a:gd name="T46" fmla="*/ 917 w 2304"/>
                <a:gd name="T47" fmla="*/ 1344 h 1513"/>
                <a:gd name="T48" fmla="*/ 749 w 2304"/>
                <a:gd name="T49" fmla="*/ 1244 h 1513"/>
                <a:gd name="T50" fmla="*/ 633 w 2304"/>
                <a:gd name="T51" fmla="*/ 1194 h 1513"/>
                <a:gd name="T52" fmla="*/ 506 w 2304"/>
                <a:gd name="T53" fmla="*/ 1164 h 1513"/>
                <a:gd name="T54" fmla="*/ 410 w 2304"/>
                <a:gd name="T55" fmla="*/ 1200 h 1513"/>
                <a:gd name="T56" fmla="*/ 324 w 2304"/>
                <a:gd name="T57" fmla="*/ 1083 h 1513"/>
                <a:gd name="T58" fmla="*/ 458 w 2304"/>
                <a:gd name="T59" fmla="*/ 932 h 1513"/>
                <a:gd name="T60" fmla="*/ 602 w 2304"/>
                <a:gd name="T61" fmla="*/ 931 h 1513"/>
                <a:gd name="T62" fmla="*/ 842 w 2304"/>
                <a:gd name="T63" fmla="*/ 761 h 1513"/>
                <a:gd name="T64" fmla="*/ 1029 w 2304"/>
                <a:gd name="T65" fmla="*/ 836 h 1513"/>
                <a:gd name="T66" fmla="*/ 1739 w 2304"/>
                <a:gd name="T67" fmla="*/ 760 h 1513"/>
                <a:gd name="T68" fmla="*/ 1769 w 2304"/>
                <a:gd name="T69" fmla="*/ 668 h 1513"/>
                <a:gd name="T70" fmla="*/ 1857 w 2304"/>
                <a:gd name="T71" fmla="*/ 596 h 1513"/>
                <a:gd name="T72" fmla="*/ 1938 w 2304"/>
                <a:gd name="T73" fmla="*/ 530 h 1513"/>
                <a:gd name="T74" fmla="*/ 2044 w 2304"/>
                <a:gd name="T75" fmla="*/ 482 h 1513"/>
                <a:gd name="T76" fmla="*/ 2230 w 2304"/>
                <a:gd name="T77" fmla="*/ 455 h 1513"/>
                <a:gd name="T78" fmla="*/ 2038 w 2304"/>
                <a:gd name="T79" fmla="*/ 550 h 1513"/>
                <a:gd name="T80" fmla="*/ 1930 w 2304"/>
                <a:gd name="T81" fmla="*/ 610 h 1513"/>
                <a:gd name="T82" fmla="*/ 1845 w 2304"/>
                <a:gd name="T83" fmla="*/ 677 h 1513"/>
                <a:gd name="T84" fmla="*/ 1805 w 2304"/>
                <a:gd name="T85" fmla="*/ 846 h 1513"/>
                <a:gd name="T86" fmla="*/ 2291 w 2304"/>
                <a:gd name="T87" fmla="*/ 99 h 1513"/>
                <a:gd name="T88" fmla="*/ 2236 w 2304"/>
                <a:gd name="T89" fmla="*/ 87 h 1513"/>
                <a:gd name="T90" fmla="*/ 2215 w 2304"/>
                <a:gd name="T91" fmla="*/ 130 h 1513"/>
                <a:gd name="T92" fmla="*/ 2195 w 2304"/>
                <a:gd name="T93" fmla="*/ 156 h 1513"/>
                <a:gd name="T94" fmla="*/ 2195 w 2304"/>
                <a:gd name="T95" fmla="*/ 131 h 1513"/>
                <a:gd name="T96" fmla="*/ 2228 w 2304"/>
                <a:gd name="T97" fmla="*/ 51 h 1513"/>
                <a:gd name="T98" fmla="*/ 2168 w 2304"/>
                <a:gd name="T99" fmla="*/ 91 h 1513"/>
                <a:gd name="T100" fmla="*/ 2187 w 2304"/>
                <a:gd name="T101" fmla="*/ 70 h 1513"/>
                <a:gd name="T102" fmla="*/ 2202 w 2304"/>
                <a:gd name="T103" fmla="*/ 37 h 1513"/>
                <a:gd name="T104" fmla="*/ 2139 w 2304"/>
                <a:gd name="T105" fmla="*/ 88 h 1513"/>
                <a:gd name="T106" fmla="*/ 2031 w 2304"/>
                <a:gd name="T107" fmla="*/ 62 h 1513"/>
                <a:gd name="T108" fmla="*/ 2091 w 2304"/>
                <a:gd name="T109" fmla="*/ 25 h 1513"/>
                <a:gd name="T110" fmla="*/ 2066 w 2304"/>
                <a:gd name="T111" fmla="*/ 11 h 1513"/>
                <a:gd name="T112" fmla="*/ 2071 w 2304"/>
                <a:gd name="T113" fmla="*/ 103 h 1513"/>
                <a:gd name="T114" fmla="*/ 51 w 2304"/>
                <a:gd name="T115" fmla="*/ 867 h 1513"/>
                <a:gd name="T116" fmla="*/ 98 w 2304"/>
                <a:gd name="T117" fmla="*/ 927 h 1513"/>
                <a:gd name="T118" fmla="*/ 1817 w 2304"/>
                <a:gd name="T119" fmla="*/ 925 h 1513"/>
                <a:gd name="T120" fmla="*/ 1513 w 2304"/>
                <a:gd name="T121" fmla="*/ 842 h 15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04" h="1513">
                  <a:moveTo>
                    <a:pt x="973" y="604"/>
                  </a:moveTo>
                  <a:lnTo>
                    <a:pt x="974" y="588"/>
                  </a:lnTo>
                  <a:lnTo>
                    <a:pt x="1002" y="561"/>
                  </a:lnTo>
                  <a:lnTo>
                    <a:pt x="1048" y="561"/>
                  </a:lnTo>
                  <a:lnTo>
                    <a:pt x="1061" y="535"/>
                  </a:lnTo>
                  <a:lnTo>
                    <a:pt x="1061" y="487"/>
                  </a:lnTo>
                  <a:lnTo>
                    <a:pt x="1090" y="473"/>
                  </a:lnTo>
                  <a:lnTo>
                    <a:pt x="1128" y="454"/>
                  </a:lnTo>
                  <a:lnTo>
                    <a:pt x="1153" y="465"/>
                  </a:lnTo>
                  <a:lnTo>
                    <a:pt x="1168" y="465"/>
                  </a:lnTo>
                  <a:lnTo>
                    <a:pt x="1181" y="477"/>
                  </a:lnTo>
                  <a:lnTo>
                    <a:pt x="1196" y="466"/>
                  </a:lnTo>
                  <a:lnTo>
                    <a:pt x="1192" y="485"/>
                  </a:lnTo>
                  <a:lnTo>
                    <a:pt x="1208" y="483"/>
                  </a:lnTo>
                  <a:lnTo>
                    <a:pt x="1229" y="483"/>
                  </a:lnTo>
                  <a:lnTo>
                    <a:pt x="1229" y="498"/>
                  </a:lnTo>
                  <a:lnTo>
                    <a:pt x="1233" y="514"/>
                  </a:lnTo>
                  <a:lnTo>
                    <a:pt x="1224" y="507"/>
                  </a:lnTo>
                  <a:lnTo>
                    <a:pt x="1213" y="498"/>
                  </a:lnTo>
                  <a:lnTo>
                    <a:pt x="1204" y="507"/>
                  </a:lnTo>
                  <a:lnTo>
                    <a:pt x="1208" y="523"/>
                  </a:lnTo>
                  <a:lnTo>
                    <a:pt x="1208" y="541"/>
                  </a:lnTo>
                  <a:lnTo>
                    <a:pt x="1224" y="549"/>
                  </a:lnTo>
                  <a:lnTo>
                    <a:pt x="1234" y="561"/>
                  </a:lnTo>
                  <a:lnTo>
                    <a:pt x="1234" y="579"/>
                  </a:lnTo>
                  <a:lnTo>
                    <a:pt x="1248" y="585"/>
                  </a:lnTo>
                  <a:lnTo>
                    <a:pt x="1248" y="606"/>
                  </a:lnTo>
                  <a:lnTo>
                    <a:pt x="1262" y="621"/>
                  </a:lnTo>
                  <a:lnTo>
                    <a:pt x="1269" y="646"/>
                  </a:lnTo>
                  <a:lnTo>
                    <a:pt x="1269" y="672"/>
                  </a:lnTo>
                  <a:lnTo>
                    <a:pt x="1265" y="694"/>
                  </a:lnTo>
                  <a:lnTo>
                    <a:pt x="1270" y="706"/>
                  </a:lnTo>
                  <a:lnTo>
                    <a:pt x="1270" y="733"/>
                  </a:lnTo>
                  <a:lnTo>
                    <a:pt x="1286" y="749"/>
                  </a:lnTo>
                  <a:lnTo>
                    <a:pt x="1285" y="769"/>
                  </a:lnTo>
                  <a:lnTo>
                    <a:pt x="1282" y="801"/>
                  </a:lnTo>
                  <a:lnTo>
                    <a:pt x="1266" y="828"/>
                  </a:lnTo>
                  <a:lnTo>
                    <a:pt x="1242" y="852"/>
                  </a:lnTo>
                  <a:lnTo>
                    <a:pt x="1218" y="852"/>
                  </a:lnTo>
                  <a:lnTo>
                    <a:pt x="1190" y="857"/>
                  </a:lnTo>
                  <a:lnTo>
                    <a:pt x="1166" y="848"/>
                  </a:lnTo>
                  <a:lnTo>
                    <a:pt x="1140" y="833"/>
                  </a:lnTo>
                  <a:lnTo>
                    <a:pt x="1124" y="817"/>
                  </a:lnTo>
                  <a:lnTo>
                    <a:pt x="1124" y="793"/>
                  </a:lnTo>
                  <a:lnTo>
                    <a:pt x="1106" y="776"/>
                  </a:lnTo>
                  <a:lnTo>
                    <a:pt x="1098" y="757"/>
                  </a:lnTo>
                  <a:lnTo>
                    <a:pt x="1093" y="740"/>
                  </a:lnTo>
                  <a:lnTo>
                    <a:pt x="1081" y="720"/>
                  </a:lnTo>
                  <a:lnTo>
                    <a:pt x="1074" y="686"/>
                  </a:lnTo>
                  <a:lnTo>
                    <a:pt x="1062" y="681"/>
                  </a:lnTo>
                  <a:lnTo>
                    <a:pt x="1066" y="661"/>
                  </a:lnTo>
                  <a:lnTo>
                    <a:pt x="1077" y="652"/>
                  </a:lnTo>
                  <a:lnTo>
                    <a:pt x="1064" y="638"/>
                  </a:lnTo>
                  <a:lnTo>
                    <a:pt x="1058" y="654"/>
                  </a:lnTo>
                  <a:lnTo>
                    <a:pt x="1050" y="662"/>
                  </a:lnTo>
                  <a:lnTo>
                    <a:pt x="1053" y="682"/>
                  </a:lnTo>
                  <a:lnTo>
                    <a:pt x="1054" y="705"/>
                  </a:lnTo>
                  <a:lnTo>
                    <a:pt x="1044" y="714"/>
                  </a:lnTo>
                  <a:lnTo>
                    <a:pt x="1057" y="728"/>
                  </a:lnTo>
                  <a:lnTo>
                    <a:pt x="1053" y="748"/>
                  </a:lnTo>
                  <a:lnTo>
                    <a:pt x="1041" y="774"/>
                  </a:lnTo>
                  <a:lnTo>
                    <a:pt x="1020" y="781"/>
                  </a:lnTo>
                  <a:lnTo>
                    <a:pt x="1002" y="798"/>
                  </a:lnTo>
                  <a:lnTo>
                    <a:pt x="996" y="830"/>
                  </a:lnTo>
                  <a:lnTo>
                    <a:pt x="978" y="846"/>
                  </a:lnTo>
                  <a:lnTo>
                    <a:pt x="992" y="889"/>
                  </a:lnTo>
                  <a:lnTo>
                    <a:pt x="980" y="912"/>
                  </a:lnTo>
                  <a:lnTo>
                    <a:pt x="997" y="929"/>
                  </a:lnTo>
                  <a:lnTo>
                    <a:pt x="1017" y="949"/>
                  </a:lnTo>
                  <a:lnTo>
                    <a:pt x="1040" y="933"/>
                  </a:lnTo>
                  <a:lnTo>
                    <a:pt x="1044" y="911"/>
                  </a:lnTo>
                  <a:lnTo>
                    <a:pt x="1032" y="900"/>
                  </a:lnTo>
                  <a:lnTo>
                    <a:pt x="1034" y="880"/>
                  </a:lnTo>
                  <a:lnTo>
                    <a:pt x="1034" y="865"/>
                  </a:lnTo>
                  <a:lnTo>
                    <a:pt x="1049" y="849"/>
                  </a:lnTo>
                  <a:lnTo>
                    <a:pt x="1064" y="849"/>
                  </a:lnTo>
                  <a:lnTo>
                    <a:pt x="1069" y="889"/>
                  </a:lnTo>
                  <a:lnTo>
                    <a:pt x="1074" y="915"/>
                  </a:lnTo>
                  <a:lnTo>
                    <a:pt x="1090" y="931"/>
                  </a:lnTo>
                  <a:lnTo>
                    <a:pt x="1100" y="951"/>
                  </a:lnTo>
                  <a:lnTo>
                    <a:pt x="1125" y="959"/>
                  </a:lnTo>
                  <a:lnTo>
                    <a:pt x="1133" y="951"/>
                  </a:lnTo>
                  <a:lnTo>
                    <a:pt x="1126" y="936"/>
                  </a:lnTo>
                  <a:lnTo>
                    <a:pt x="1141" y="924"/>
                  </a:lnTo>
                  <a:lnTo>
                    <a:pt x="1142" y="892"/>
                  </a:lnTo>
                  <a:lnTo>
                    <a:pt x="1170" y="897"/>
                  </a:lnTo>
                  <a:lnTo>
                    <a:pt x="1196" y="887"/>
                  </a:lnTo>
                  <a:lnTo>
                    <a:pt x="1217" y="899"/>
                  </a:lnTo>
                  <a:lnTo>
                    <a:pt x="1241" y="891"/>
                  </a:lnTo>
                  <a:lnTo>
                    <a:pt x="1257" y="891"/>
                  </a:lnTo>
                  <a:lnTo>
                    <a:pt x="1268" y="901"/>
                  </a:lnTo>
                  <a:lnTo>
                    <a:pt x="1282" y="924"/>
                  </a:lnTo>
                  <a:lnTo>
                    <a:pt x="1270" y="937"/>
                  </a:lnTo>
                  <a:lnTo>
                    <a:pt x="1270" y="956"/>
                  </a:lnTo>
                  <a:lnTo>
                    <a:pt x="1281" y="943"/>
                  </a:lnTo>
                  <a:lnTo>
                    <a:pt x="1297" y="927"/>
                  </a:lnTo>
                  <a:lnTo>
                    <a:pt x="1318" y="923"/>
                  </a:lnTo>
                  <a:lnTo>
                    <a:pt x="1336" y="897"/>
                  </a:lnTo>
                  <a:lnTo>
                    <a:pt x="1336" y="875"/>
                  </a:lnTo>
                  <a:lnTo>
                    <a:pt x="1344" y="860"/>
                  </a:lnTo>
                  <a:lnTo>
                    <a:pt x="1366" y="848"/>
                  </a:lnTo>
                  <a:lnTo>
                    <a:pt x="1366" y="833"/>
                  </a:lnTo>
                  <a:lnTo>
                    <a:pt x="1389" y="820"/>
                  </a:lnTo>
                  <a:lnTo>
                    <a:pt x="1389" y="798"/>
                  </a:lnTo>
                  <a:lnTo>
                    <a:pt x="1385" y="777"/>
                  </a:lnTo>
                  <a:lnTo>
                    <a:pt x="1400" y="777"/>
                  </a:lnTo>
                  <a:lnTo>
                    <a:pt x="1405" y="788"/>
                  </a:lnTo>
                  <a:lnTo>
                    <a:pt x="1425" y="808"/>
                  </a:lnTo>
                  <a:lnTo>
                    <a:pt x="1440" y="830"/>
                  </a:lnTo>
                  <a:lnTo>
                    <a:pt x="1440" y="863"/>
                  </a:lnTo>
                  <a:lnTo>
                    <a:pt x="1435" y="879"/>
                  </a:lnTo>
                  <a:lnTo>
                    <a:pt x="1426" y="887"/>
                  </a:lnTo>
                  <a:lnTo>
                    <a:pt x="1413" y="873"/>
                  </a:lnTo>
                  <a:lnTo>
                    <a:pt x="1394" y="868"/>
                  </a:lnTo>
                  <a:lnTo>
                    <a:pt x="1366" y="879"/>
                  </a:lnTo>
                  <a:lnTo>
                    <a:pt x="1366" y="901"/>
                  </a:lnTo>
                  <a:lnTo>
                    <a:pt x="1373" y="923"/>
                  </a:lnTo>
                  <a:lnTo>
                    <a:pt x="1373" y="940"/>
                  </a:lnTo>
                  <a:lnTo>
                    <a:pt x="1394" y="945"/>
                  </a:lnTo>
                  <a:lnTo>
                    <a:pt x="1413" y="955"/>
                  </a:lnTo>
                  <a:lnTo>
                    <a:pt x="1436" y="944"/>
                  </a:lnTo>
                  <a:lnTo>
                    <a:pt x="1436" y="928"/>
                  </a:lnTo>
                  <a:lnTo>
                    <a:pt x="1459" y="923"/>
                  </a:lnTo>
                  <a:lnTo>
                    <a:pt x="1481" y="933"/>
                  </a:lnTo>
                  <a:lnTo>
                    <a:pt x="1477" y="919"/>
                  </a:lnTo>
                  <a:lnTo>
                    <a:pt x="1512" y="925"/>
                  </a:lnTo>
                  <a:lnTo>
                    <a:pt x="1531" y="921"/>
                  </a:lnTo>
                  <a:lnTo>
                    <a:pt x="1565" y="927"/>
                  </a:lnTo>
                  <a:lnTo>
                    <a:pt x="1584" y="927"/>
                  </a:lnTo>
                  <a:lnTo>
                    <a:pt x="1595" y="944"/>
                  </a:lnTo>
                  <a:lnTo>
                    <a:pt x="1603" y="944"/>
                  </a:lnTo>
                  <a:lnTo>
                    <a:pt x="1603" y="928"/>
                  </a:lnTo>
                  <a:lnTo>
                    <a:pt x="1632" y="919"/>
                  </a:lnTo>
                  <a:lnTo>
                    <a:pt x="1647" y="919"/>
                  </a:lnTo>
                  <a:lnTo>
                    <a:pt x="1653" y="943"/>
                  </a:lnTo>
                  <a:lnTo>
                    <a:pt x="1636" y="943"/>
                  </a:lnTo>
                  <a:lnTo>
                    <a:pt x="1631" y="959"/>
                  </a:lnTo>
                  <a:lnTo>
                    <a:pt x="1617" y="963"/>
                  </a:lnTo>
                  <a:lnTo>
                    <a:pt x="1637" y="981"/>
                  </a:lnTo>
                  <a:lnTo>
                    <a:pt x="1652" y="981"/>
                  </a:lnTo>
                  <a:lnTo>
                    <a:pt x="1679" y="969"/>
                  </a:lnTo>
                  <a:lnTo>
                    <a:pt x="1704" y="975"/>
                  </a:lnTo>
                  <a:lnTo>
                    <a:pt x="1732" y="1003"/>
                  </a:lnTo>
                  <a:lnTo>
                    <a:pt x="1741" y="993"/>
                  </a:lnTo>
                  <a:lnTo>
                    <a:pt x="1760" y="993"/>
                  </a:lnTo>
                  <a:lnTo>
                    <a:pt x="1783" y="985"/>
                  </a:lnTo>
                  <a:lnTo>
                    <a:pt x="1792" y="995"/>
                  </a:lnTo>
                  <a:lnTo>
                    <a:pt x="1789" y="1007"/>
                  </a:lnTo>
                  <a:lnTo>
                    <a:pt x="1776" y="1017"/>
                  </a:lnTo>
                  <a:lnTo>
                    <a:pt x="1776" y="1032"/>
                  </a:lnTo>
                  <a:lnTo>
                    <a:pt x="1792" y="1047"/>
                  </a:lnTo>
                  <a:lnTo>
                    <a:pt x="1793" y="1029"/>
                  </a:lnTo>
                  <a:lnTo>
                    <a:pt x="1801" y="1023"/>
                  </a:lnTo>
                  <a:lnTo>
                    <a:pt x="1819" y="1027"/>
                  </a:lnTo>
                  <a:lnTo>
                    <a:pt x="1819" y="1012"/>
                  </a:lnTo>
                  <a:lnTo>
                    <a:pt x="1836" y="1009"/>
                  </a:lnTo>
                  <a:lnTo>
                    <a:pt x="1840" y="988"/>
                  </a:lnTo>
                  <a:lnTo>
                    <a:pt x="1837" y="963"/>
                  </a:lnTo>
                  <a:lnTo>
                    <a:pt x="1853" y="955"/>
                  </a:lnTo>
                  <a:lnTo>
                    <a:pt x="1867" y="951"/>
                  </a:lnTo>
                  <a:lnTo>
                    <a:pt x="1883" y="967"/>
                  </a:lnTo>
                  <a:lnTo>
                    <a:pt x="1891" y="960"/>
                  </a:lnTo>
                  <a:lnTo>
                    <a:pt x="1908" y="983"/>
                  </a:lnTo>
                  <a:lnTo>
                    <a:pt x="1930" y="1004"/>
                  </a:lnTo>
                  <a:lnTo>
                    <a:pt x="1947" y="1020"/>
                  </a:lnTo>
                  <a:lnTo>
                    <a:pt x="1951" y="1029"/>
                  </a:lnTo>
                  <a:lnTo>
                    <a:pt x="1943" y="1040"/>
                  </a:lnTo>
                  <a:lnTo>
                    <a:pt x="1935" y="1048"/>
                  </a:lnTo>
                  <a:lnTo>
                    <a:pt x="1930" y="1053"/>
                  </a:lnTo>
                  <a:lnTo>
                    <a:pt x="1938" y="1061"/>
                  </a:lnTo>
                  <a:lnTo>
                    <a:pt x="1940" y="1068"/>
                  </a:lnTo>
                  <a:lnTo>
                    <a:pt x="1947" y="1071"/>
                  </a:lnTo>
                  <a:lnTo>
                    <a:pt x="1947" y="1084"/>
                  </a:lnTo>
                  <a:lnTo>
                    <a:pt x="1947" y="1101"/>
                  </a:lnTo>
                  <a:lnTo>
                    <a:pt x="1938" y="1101"/>
                  </a:lnTo>
                  <a:lnTo>
                    <a:pt x="1934" y="1111"/>
                  </a:lnTo>
                  <a:lnTo>
                    <a:pt x="1927" y="1115"/>
                  </a:lnTo>
                  <a:lnTo>
                    <a:pt x="1924" y="1131"/>
                  </a:lnTo>
                  <a:lnTo>
                    <a:pt x="1942" y="1140"/>
                  </a:lnTo>
                  <a:lnTo>
                    <a:pt x="1942" y="1151"/>
                  </a:lnTo>
                  <a:lnTo>
                    <a:pt x="1926" y="1158"/>
                  </a:lnTo>
                  <a:lnTo>
                    <a:pt x="1939" y="1172"/>
                  </a:lnTo>
                  <a:lnTo>
                    <a:pt x="1918" y="1183"/>
                  </a:lnTo>
                  <a:lnTo>
                    <a:pt x="1901" y="1199"/>
                  </a:lnTo>
                  <a:lnTo>
                    <a:pt x="1885" y="1199"/>
                  </a:lnTo>
                  <a:lnTo>
                    <a:pt x="1879" y="1218"/>
                  </a:lnTo>
                  <a:lnTo>
                    <a:pt x="1848" y="1218"/>
                  </a:lnTo>
                  <a:lnTo>
                    <a:pt x="1820" y="1224"/>
                  </a:lnTo>
                  <a:lnTo>
                    <a:pt x="1792" y="1240"/>
                  </a:lnTo>
                  <a:lnTo>
                    <a:pt x="1792" y="1260"/>
                  </a:lnTo>
                  <a:lnTo>
                    <a:pt x="1768" y="1259"/>
                  </a:lnTo>
                  <a:lnTo>
                    <a:pt x="1752" y="1262"/>
                  </a:lnTo>
                  <a:lnTo>
                    <a:pt x="1743" y="1272"/>
                  </a:lnTo>
                  <a:lnTo>
                    <a:pt x="1725" y="1282"/>
                  </a:lnTo>
                  <a:lnTo>
                    <a:pt x="1709" y="1298"/>
                  </a:lnTo>
                  <a:lnTo>
                    <a:pt x="1693" y="1300"/>
                  </a:lnTo>
                  <a:lnTo>
                    <a:pt x="1693" y="1286"/>
                  </a:lnTo>
                  <a:lnTo>
                    <a:pt x="1683" y="1282"/>
                  </a:lnTo>
                  <a:lnTo>
                    <a:pt x="1668" y="1295"/>
                  </a:lnTo>
                  <a:lnTo>
                    <a:pt x="1651" y="1314"/>
                  </a:lnTo>
                  <a:lnTo>
                    <a:pt x="1643" y="1330"/>
                  </a:lnTo>
                  <a:lnTo>
                    <a:pt x="1645" y="1348"/>
                  </a:lnTo>
                  <a:lnTo>
                    <a:pt x="1624" y="1362"/>
                  </a:lnTo>
                  <a:lnTo>
                    <a:pt x="1623" y="1378"/>
                  </a:lnTo>
                  <a:lnTo>
                    <a:pt x="1604" y="1390"/>
                  </a:lnTo>
                  <a:lnTo>
                    <a:pt x="1592" y="1413"/>
                  </a:lnTo>
                  <a:lnTo>
                    <a:pt x="1596" y="1427"/>
                  </a:lnTo>
                  <a:lnTo>
                    <a:pt x="1588" y="1442"/>
                  </a:lnTo>
                  <a:lnTo>
                    <a:pt x="1588" y="1454"/>
                  </a:lnTo>
                  <a:lnTo>
                    <a:pt x="1567" y="1475"/>
                  </a:lnTo>
                  <a:lnTo>
                    <a:pt x="1563" y="1491"/>
                  </a:lnTo>
                  <a:lnTo>
                    <a:pt x="1555" y="1499"/>
                  </a:lnTo>
                  <a:lnTo>
                    <a:pt x="1551" y="1513"/>
                  </a:lnTo>
                  <a:lnTo>
                    <a:pt x="1520" y="1507"/>
                  </a:lnTo>
                  <a:lnTo>
                    <a:pt x="1497" y="1499"/>
                  </a:lnTo>
                  <a:lnTo>
                    <a:pt x="1477" y="1489"/>
                  </a:lnTo>
                  <a:lnTo>
                    <a:pt x="1456" y="1474"/>
                  </a:lnTo>
                  <a:lnTo>
                    <a:pt x="1447" y="1474"/>
                  </a:lnTo>
                  <a:lnTo>
                    <a:pt x="1441" y="1486"/>
                  </a:lnTo>
                  <a:lnTo>
                    <a:pt x="1432" y="1489"/>
                  </a:lnTo>
                  <a:lnTo>
                    <a:pt x="1426" y="1482"/>
                  </a:lnTo>
                  <a:lnTo>
                    <a:pt x="1417" y="1479"/>
                  </a:lnTo>
                  <a:lnTo>
                    <a:pt x="1408" y="1489"/>
                  </a:lnTo>
                  <a:lnTo>
                    <a:pt x="1392" y="1482"/>
                  </a:lnTo>
                  <a:lnTo>
                    <a:pt x="1378" y="1490"/>
                  </a:lnTo>
                  <a:lnTo>
                    <a:pt x="1365" y="1477"/>
                  </a:lnTo>
                  <a:lnTo>
                    <a:pt x="1346" y="1469"/>
                  </a:lnTo>
                  <a:lnTo>
                    <a:pt x="1334" y="1473"/>
                  </a:lnTo>
                  <a:lnTo>
                    <a:pt x="1325" y="1461"/>
                  </a:lnTo>
                  <a:lnTo>
                    <a:pt x="1328" y="1450"/>
                  </a:lnTo>
                  <a:lnTo>
                    <a:pt x="1322" y="1442"/>
                  </a:lnTo>
                  <a:lnTo>
                    <a:pt x="1312" y="1438"/>
                  </a:lnTo>
                  <a:lnTo>
                    <a:pt x="1302" y="1447"/>
                  </a:lnTo>
                  <a:lnTo>
                    <a:pt x="1296" y="1441"/>
                  </a:lnTo>
                  <a:lnTo>
                    <a:pt x="1290" y="1447"/>
                  </a:lnTo>
                  <a:lnTo>
                    <a:pt x="1272" y="1437"/>
                  </a:lnTo>
                  <a:lnTo>
                    <a:pt x="1264" y="1453"/>
                  </a:lnTo>
                  <a:lnTo>
                    <a:pt x="1273" y="1462"/>
                  </a:lnTo>
                  <a:lnTo>
                    <a:pt x="1273" y="1473"/>
                  </a:lnTo>
                  <a:lnTo>
                    <a:pt x="1258" y="1478"/>
                  </a:lnTo>
                  <a:lnTo>
                    <a:pt x="1245" y="1478"/>
                  </a:lnTo>
                  <a:lnTo>
                    <a:pt x="1236" y="1486"/>
                  </a:lnTo>
                  <a:lnTo>
                    <a:pt x="1222" y="1487"/>
                  </a:lnTo>
                  <a:lnTo>
                    <a:pt x="1218" y="1478"/>
                  </a:lnTo>
                  <a:lnTo>
                    <a:pt x="1212" y="1470"/>
                  </a:lnTo>
                  <a:lnTo>
                    <a:pt x="1197" y="1483"/>
                  </a:lnTo>
                  <a:lnTo>
                    <a:pt x="1188" y="1474"/>
                  </a:lnTo>
                  <a:lnTo>
                    <a:pt x="1170" y="1466"/>
                  </a:lnTo>
                  <a:lnTo>
                    <a:pt x="1156" y="1470"/>
                  </a:lnTo>
                  <a:lnTo>
                    <a:pt x="1149" y="1487"/>
                  </a:lnTo>
                  <a:lnTo>
                    <a:pt x="1138" y="1501"/>
                  </a:lnTo>
                  <a:lnTo>
                    <a:pt x="1133" y="1494"/>
                  </a:lnTo>
                  <a:lnTo>
                    <a:pt x="1138" y="1482"/>
                  </a:lnTo>
                  <a:lnTo>
                    <a:pt x="1134" y="1467"/>
                  </a:lnTo>
                  <a:lnTo>
                    <a:pt x="1134" y="1454"/>
                  </a:lnTo>
                  <a:lnTo>
                    <a:pt x="1125" y="1445"/>
                  </a:lnTo>
                  <a:lnTo>
                    <a:pt x="1125" y="1431"/>
                  </a:lnTo>
                  <a:lnTo>
                    <a:pt x="1137" y="1419"/>
                  </a:lnTo>
                  <a:lnTo>
                    <a:pt x="1137" y="1409"/>
                  </a:lnTo>
                  <a:lnTo>
                    <a:pt x="1153" y="1405"/>
                  </a:lnTo>
                  <a:lnTo>
                    <a:pt x="1153" y="1386"/>
                  </a:lnTo>
                  <a:lnTo>
                    <a:pt x="1165" y="1375"/>
                  </a:lnTo>
                  <a:lnTo>
                    <a:pt x="1162" y="1362"/>
                  </a:lnTo>
                  <a:lnTo>
                    <a:pt x="1154" y="1358"/>
                  </a:lnTo>
                  <a:lnTo>
                    <a:pt x="1158" y="1348"/>
                  </a:lnTo>
                  <a:lnTo>
                    <a:pt x="1149" y="1339"/>
                  </a:lnTo>
                  <a:lnTo>
                    <a:pt x="1146" y="1336"/>
                  </a:lnTo>
                  <a:lnTo>
                    <a:pt x="1141" y="1328"/>
                  </a:lnTo>
                  <a:lnTo>
                    <a:pt x="1134" y="1326"/>
                  </a:lnTo>
                  <a:lnTo>
                    <a:pt x="1125" y="1334"/>
                  </a:lnTo>
                  <a:lnTo>
                    <a:pt x="1105" y="1354"/>
                  </a:lnTo>
                  <a:lnTo>
                    <a:pt x="1093" y="1366"/>
                  </a:lnTo>
                  <a:lnTo>
                    <a:pt x="1076" y="1358"/>
                  </a:lnTo>
                  <a:lnTo>
                    <a:pt x="1066" y="1367"/>
                  </a:lnTo>
                  <a:lnTo>
                    <a:pt x="1086" y="1387"/>
                  </a:lnTo>
                  <a:lnTo>
                    <a:pt x="1074" y="1394"/>
                  </a:lnTo>
                  <a:lnTo>
                    <a:pt x="1074" y="1410"/>
                  </a:lnTo>
                  <a:lnTo>
                    <a:pt x="1068" y="1415"/>
                  </a:lnTo>
                  <a:lnTo>
                    <a:pt x="1048" y="1398"/>
                  </a:lnTo>
                  <a:lnTo>
                    <a:pt x="1037" y="1414"/>
                  </a:lnTo>
                  <a:lnTo>
                    <a:pt x="1017" y="1410"/>
                  </a:lnTo>
                  <a:lnTo>
                    <a:pt x="1009" y="1418"/>
                  </a:lnTo>
                  <a:lnTo>
                    <a:pt x="997" y="1401"/>
                  </a:lnTo>
                  <a:lnTo>
                    <a:pt x="978" y="1390"/>
                  </a:lnTo>
                  <a:lnTo>
                    <a:pt x="964" y="1383"/>
                  </a:lnTo>
                  <a:lnTo>
                    <a:pt x="958" y="1366"/>
                  </a:lnTo>
                  <a:lnTo>
                    <a:pt x="939" y="1348"/>
                  </a:lnTo>
                  <a:lnTo>
                    <a:pt x="917" y="1344"/>
                  </a:lnTo>
                  <a:lnTo>
                    <a:pt x="905" y="1319"/>
                  </a:lnTo>
                  <a:lnTo>
                    <a:pt x="887" y="1327"/>
                  </a:lnTo>
                  <a:lnTo>
                    <a:pt x="867" y="1319"/>
                  </a:lnTo>
                  <a:lnTo>
                    <a:pt x="846" y="1324"/>
                  </a:lnTo>
                  <a:lnTo>
                    <a:pt x="826" y="1334"/>
                  </a:lnTo>
                  <a:lnTo>
                    <a:pt x="806" y="1312"/>
                  </a:lnTo>
                  <a:lnTo>
                    <a:pt x="806" y="1294"/>
                  </a:lnTo>
                  <a:lnTo>
                    <a:pt x="806" y="1276"/>
                  </a:lnTo>
                  <a:lnTo>
                    <a:pt x="789" y="1260"/>
                  </a:lnTo>
                  <a:lnTo>
                    <a:pt x="781" y="1268"/>
                  </a:lnTo>
                  <a:lnTo>
                    <a:pt x="758" y="1254"/>
                  </a:lnTo>
                  <a:lnTo>
                    <a:pt x="749" y="1244"/>
                  </a:lnTo>
                  <a:lnTo>
                    <a:pt x="733" y="1246"/>
                  </a:lnTo>
                  <a:lnTo>
                    <a:pt x="721" y="1248"/>
                  </a:lnTo>
                  <a:lnTo>
                    <a:pt x="721" y="1230"/>
                  </a:lnTo>
                  <a:lnTo>
                    <a:pt x="726" y="1215"/>
                  </a:lnTo>
                  <a:lnTo>
                    <a:pt x="713" y="1211"/>
                  </a:lnTo>
                  <a:lnTo>
                    <a:pt x="699" y="1214"/>
                  </a:lnTo>
                  <a:lnTo>
                    <a:pt x="681" y="1206"/>
                  </a:lnTo>
                  <a:lnTo>
                    <a:pt x="666" y="1199"/>
                  </a:lnTo>
                  <a:lnTo>
                    <a:pt x="654" y="1194"/>
                  </a:lnTo>
                  <a:lnTo>
                    <a:pt x="646" y="1186"/>
                  </a:lnTo>
                  <a:lnTo>
                    <a:pt x="643" y="1194"/>
                  </a:lnTo>
                  <a:lnTo>
                    <a:pt x="633" y="1194"/>
                  </a:lnTo>
                  <a:lnTo>
                    <a:pt x="623" y="1183"/>
                  </a:lnTo>
                  <a:lnTo>
                    <a:pt x="611" y="1183"/>
                  </a:lnTo>
                  <a:lnTo>
                    <a:pt x="607" y="1171"/>
                  </a:lnTo>
                  <a:lnTo>
                    <a:pt x="601" y="1163"/>
                  </a:lnTo>
                  <a:lnTo>
                    <a:pt x="591" y="1159"/>
                  </a:lnTo>
                  <a:lnTo>
                    <a:pt x="579" y="1159"/>
                  </a:lnTo>
                  <a:lnTo>
                    <a:pt x="570" y="1168"/>
                  </a:lnTo>
                  <a:lnTo>
                    <a:pt x="554" y="1168"/>
                  </a:lnTo>
                  <a:lnTo>
                    <a:pt x="547" y="1175"/>
                  </a:lnTo>
                  <a:lnTo>
                    <a:pt x="535" y="1174"/>
                  </a:lnTo>
                  <a:lnTo>
                    <a:pt x="525" y="1164"/>
                  </a:lnTo>
                  <a:lnTo>
                    <a:pt x="506" y="1164"/>
                  </a:lnTo>
                  <a:lnTo>
                    <a:pt x="495" y="1158"/>
                  </a:lnTo>
                  <a:lnTo>
                    <a:pt x="482" y="1159"/>
                  </a:lnTo>
                  <a:lnTo>
                    <a:pt x="474" y="1151"/>
                  </a:lnTo>
                  <a:lnTo>
                    <a:pt x="458" y="1151"/>
                  </a:lnTo>
                  <a:lnTo>
                    <a:pt x="450" y="1143"/>
                  </a:lnTo>
                  <a:lnTo>
                    <a:pt x="444" y="1131"/>
                  </a:lnTo>
                  <a:lnTo>
                    <a:pt x="431" y="1143"/>
                  </a:lnTo>
                  <a:lnTo>
                    <a:pt x="430" y="1154"/>
                  </a:lnTo>
                  <a:lnTo>
                    <a:pt x="422" y="1162"/>
                  </a:lnTo>
                  <a:lnTo>
                    <a:pt x="420" y="1180"/>
                  </a:lnTo>
                  <a:lnTo>
                    <a:pt x="415" y="1191"/>
                  </a:lnTo>
                  <a:lnTo>
                    <a:pt x="410" y="1200"/>
                  </a:lnTo>
                  <a:lnTo>
                    <a:pt x="398" y="1200"/>
                  </a:lnTo>
                  <a:lnTo>
                    <a:pt x="392" y="1215"/>
                  </a:lnTo>
                  <a:lnTo>
                    <a:pt x="380" y="1200"/>
                  </a:lnTo>
                  <a:lnTo>
                    <a:pt x="364" y="1202"/>
                  </a:lnTo>
                  <a:lnTo>
                    <a:pt x="364" y="1172"/>
                  </a:lnTo>
                  <a:lnTo>
                    <a:pt x="350" y="1158"/>
                  </a:lnTo>
                  <a:lnTo>
                    <a:pt x="332" y="1154"/>
                  </a:lnTo>
                  <a:lnTo>
                    <a:pt x="338" y="1140"/>
                  </a:lnTo>
                  <a:lnTo>
                    <a:pt x="343" y="1126"/>
                  </a:lnTo>
                  <a:lnTo>
                    <a:pt x="330" y="1113"/>
                  </a:lnTo>
                  <a:lnTo>
                    <a:pt x="322" y="1095"/>
                  </a:lnTo>
                  <a:lnTo>
                    <a:pt x="324" y="1083"/>
                  </a:lnTo>
                  <a:lnTo>
                    <a:pt x="342" y="1065"/>
                  </a:lnTo>
                  <a:lnTo>
                    <a:pt x="351" y="1048"/>
                  </a:lnTo>
                  <a:lnTo>
                    <a:pt x="347" y="1032"/>
                  </a:lnTo>
                  <a:lnTo>
                    <a:pt x="362" y="1028"/>
                  </a:lnTo>
                  <a:lnTo>
                    <a:pt x="383" y="1015"/>
                  </a:lnTo>
                  <a:lnTo>
                    <a:pt x="383" y="996"/>
                  </a:lnTo>
                  <a:lnTo>
                    <a:pt x="391" y="985"/>
                  </a:lnTo>
                  <a:lnTo>
                    <a:pt x="414" y="985"/>
                  </a:lnTo>
                  <a:lnTo>
                    <a:pt x="423" y="973"/>
                  </a:lnTo>
                  <a:lnTo>
                    <a:pt x="424" y="960"/>
                  </a:lnTo>
                  <a:lnTo>
                    <a:pt x="443" y="953"/>
                  </a:lnTo>
                  <a:lnTo>
                    <a:pt x="458" y="932"/>
                  </a:lnTo>
                  <a:lnTo>
                    <a:pt x="479" y="933"/>
                  </a:lnTo>
                  <a:lnTo>
                    <a:pt x="497" y="923"/>
                  </a:lnTo>
                  <a:lnTo>
                    <a:pt x="521" y="928"/>
                  </a:lnTo>
                  <a:lnTo>
                    <a:pt x="525" y="915"/>
                  </a:lnTo>
                  <a:lnTo>
                    <a:pt x="533" y="907"/>
                  </a:lnTo>
                  <a:lnTo>
                    <a:pt x="547" y="913"/>
                  </a:lnTo>
                  <a:lnTo>
                    <a:pt x="559" y="927"/>
                  </a:lnTo>
                  <a:lnTo>
                    <a:pt x="579" y="933"/>
                  </a:lnTo>
                  <a:lnTo>
                    <a:pt x="586" y="949"/>
                  </a:lnTo>
                  <a:lnTo>
                    <a:pt x="594" y="967"/>
                  </a:lnTo>
                  <a:lnTo>
                    <a:pt x="605" y="956"/>
                  </a:lnTo>
                  <a:lnTo>
                    <a:pt x="602" y="931"/>
                  </a:lnTo>
                  <a:lnTo>
                    <a:pt x="586" y="916"/>
                  </a:lnTo>
                  <a:lnTo>
                    <a:pt x="586" y="887"/>
                  </a:lnTo>
                  <a:lnTo>
                    <a:pt x="601" y="883"/>
                  </a:lnTo>
                  <a:lnTo>
                    <a:pt x="605" y="879"/>
                  </a:lnTo>
                  <a:lnTo>
                    <a:pt x="586" y="871"/>
                  </a:lnTo>
                  <a:lnTo>
                    <a:pt x="574" y="857"/>
                  </a:lnTo>
                  <a:lnTo>
                    <a:pt x="655" y="857"/>
                  </a:lnTo>
                  <a:lnTo>
                    <a:pt x="773" y="856"/>
                  </a:lnTo>
                  <a:lnTo>
                    <a:pt x="810" y="842"/>
                  </a:lnTo>
                  <a:lnTo>
                    <a:pt x="810" y="820"/>
                  </a:lnTo>
                  <a:lnTo>
                    <a:pt x="817" y="761"/>
                  </a:lnTo>
                  <a:lnTo>
                    <a:pt x="842" y="761"/>
                  </a:lnTo>
                  <a:lnTo>
                    <a:pt x="863" y="744"/>
                  </a:lnTo>
                  <a:lnTo>
                    <a:pt x="863" y="721"/>
                  </a:lnTo>
                  <a:lnTo>
                    <a:pt x="879" y="714"/>
                  </a:lnTo>
                  <a:lnTo>
                    <a:pt x="879" y="684"/>
                  </a:lnTo>
                  <a:lnTo>
                    <a:pt x="893" y="684"/>
                  </a:lnTo>
                  <a:lnTo>
                    <a:pt x="925" y="658"/>
                  </a:lnTo>
                  <a:lnTo>
                    <a:pt x="939" y="665"/>
                  </a:lnTo>
                  <a:lnTo>
                    <a:pt x="973" y="604"/>
                  </a:lnTo>
                  <a:lnTo>
                    <a:pt x="973" y="604"/>
                  </a:lnTo>
                  <a:close/>
                  <a:moveTo>
                    <a:pt x="1026" y="824"/>
                  </a:moveTo>
                  <a:lnTo>
                    <a:pt x="1024" y="829"/>
                  </a:lnTo>
                  <a:lnTo>
                    <a:pt x="1029" y="836"/>
                  </a:lnTo>
                  <a:lnTo>
                    <a:pt x="1037" y="829"/>
                  </a:lnTo>
                  <a:lnTo>
                    <a:pt x="1026" y="824"/>
                  </a:lnTo>
                  <a:close/>
                  <a:moveTo>
                    <a:pt x="1779" y="836"/>
                  </a:moveTo>
                  <a:lnTo>
                    <a:pt x="1769" y="836"/>
                  </a:lnTo>
                  <a:lnTo>
                    <a:pt x="1760" y="821"/>
                  </a:lnTo>
                  <a:lnTo>
                    <a:pt x="1755" y="824"/>
                  </a:lnTo>
                  <a:lnTo>
                    <a:pt x="1737" y="808"/>
                  </a:lnTo>
                  <a:lnTo>
                    <a:pt x="1725" y="794"/>
                  </a:lnTo>
                  <a:lnTo>
                    <a:pt x="1729" y="780"/>
                  </a:lnTo>
                  <a:lnTo>
                    <a:pt x="1743" y="776"/>
                  </a:lnTo>
                  <a:lnTo>
                    <a:pt x="1748" y="768"/>
                  </a:lnTo>
                  <a:lnTo>
                    <a:pt x="1739" y="760"/>
                  </a:lnTo>
                  <a:lnTo>
                    <a:pt x="1739" y="741"/>
                  </a:lnTo>
                  <a:lnTo>
                    <a:pt x="1733" y="740"/>
                  </a:lnTo>
                  <a:lnTo>
                    <a:pt x="1728" y="725"/>
                  </a:lnTo>
                  <a:lnTo>
                    <a:pt x="1716" y="724"/>
                  </a:lnTo>
                  <a:lnTo>
                    <a:pt x="1707" y="710"/>
                  </a:lnTo>
                  <a:lnTo>
                    <a:pt x="1709" y="693"/>
                  </a:lnTo>
                  <a:lnTo>
                    <a:pt x="1723" y="674"/>
                  </a:lnTo>
                  <a:lnTo>
                    <a:pt x="1737" y="677"/>
                  </a:lnTo>
                  <a:lnTo>
                    <a:pt x="1743" y="682"/>
                  </a:lnTo>
                  <a:lnTo>
                    <a:pt x="1748" y="685"/>
                  </a:lnTo>
                  <a:lnTo>
                    <a:pt x="1751" y="674"/>
                  </a:lnTo>
                  <a:lnTo>
                    <a:pt x="1769" y="668"/>
                  </a:lnTo>
                  <a:lnTo>
                    <a:pt x="1784" y="653"/>
                  </a:lnTo>
                  <a:lnTo>
                    <a:pt x="1773" y="642"/>
                  </a:lnTo>
                  <a:lnTo>
                    <a:pt x="1787" y="634"/>
                  </a:lnTo>
                  <a:lnTo>
                    <a:pt x="1801" y="640"/>
                  </a:lnTo>
                  <a:lnTo>
                    <a:pt x="1805" y="628"/>
                  </a:lnTo>
                  <a:lnTo>
                    <a:pt x="1805" y="616"/>
                  </a:lnTo>
                  <a:lnTo>
                    <a:pt x="1824" y="616"/>
                  </a:lnTo>
                  <a:lnTo>
                    <a:pt x="1833" y="625"/>
                  </a:lnTo>
                  <a:lnTo>
                    <a:pt x="1843" y="616"/>
                  </a:lnTo>
                  <a:lnTo>
                    <a:pt x="1844" y="606"/>
                  </a:lnTo>
                  <a:lnTo>
                    <a:pt x="1864" y="602"/>
                  </a:lnTo>
                  <a:lnTo>
                    <a:pt x="1857" y="596"/>
                  </a:lnTo>
                  <a:lnTo>
                    <a:pt x="1840" y="590"/>
                  </a:lnTo>
                  <a:lnTo>
                    <a:pt x="1840" y="583"/>
                  </a:lnTo>
                  <a:lnTo>
                    <a:pt x="1860" y="578"/>
                  </a:lnTo>
                  <a:lnTo>
                    <a:pt x="1881" y="571"/>
                  </a:lnTo>
                  <a:lnTo>
                    <a:pt x="1892" y="562"/>
                  </a:lnTo>
                  <a:lnTo>
                    <a:pt x="1905" y="562"/>
                  </a:lnTo>
                  <a:lnTo>
                    <a:pt x="1905" y="551"/>
                  </a:lnTo>
                  <a:lnTo>
                    <a:pt x="1926" y="551"/>
                  </a:lnTo>
                  <a:lnTo>
                    <a:pt x="1915" y="541"/>
                  </a:lnTo>
                  <a:lnTo>
                    <a:pt x="1931" y="539"/>
                  </a:lnTo>
                  <a:lnTo>
                    <a:pt x="1938" y="546"/>
                  </a:lnTo>
                  <a:lnTo>
                    <a:pt x="1938" y="530"/>
                  </a:lnTo>
                  <a:lnTo>
                    <a:pt x="1946" y="522"/>
                  </a:lnTo>
                  <a:lnTo>
                    <a:pt x="1936" y="511"/>
                  </a:lnTo>
                  <a:lnTo>
                    <a:pt x="1942" y="502"/>
                  </a:lnTo>
                  <a:lnTo>
                    <a:pt x="1952" y="513"/>
                  </a:lnTo>
                  <a:lnTo>
                    <a:pt x="1964" y="513"/>
                  </a:lnTo>
                  <a:lnTo>
                    <a:pt x="1964" y="501"/>
                  </a:lnTo>
                  <a:lnTo>
                    <a:pt x="1982" y="506"/>
                  </a:lnTo>
                  <a:lnTo>
                    <a:pt x="1991" y="497"/>
                  </a:lnTo>
                  <a:lnTo>
                    <a:pt x="1999" y="486"/>
                  </a:lnTo>
                  <a:lnTo>
                    <a:pt x="2011" y="486"/>
                  </a:lnTo>
                  <a:lnTo>
                    <a:pt x="2030" y="478"/>
                  </a:lnTo>
                  <a:lnTo>
                    <a:pt x="2044" y="482"/>
                  </a:lnTo>
                  <a:lnTo>
                    <a:pt x="2064" y="482"/>
                  </a:lnTo>
                  <a:lnTo>
                    <a:pt x="2078" y="469"/>
                  </a:lnTo>
                  <a:lnTo>
                    <a:pt x="2092" y="470"/>
                  </a:lnTo>
                  <a:lnTo>
                    <a:pt x="2100" y="481"/>
                  </a:lnTo>
                  <a:lnTo>
                    <a:pt x="2118" y="481"/>
                  </a:lnTo>
                  <a:lnTo>
                    <a:pt x="2126" y="489"/>
                  </a:lnTo>
                  <a:lnTo>
                    <a:pt x="2140" y="485"/>
                  </a:lnTo>
                  <a:lnTo>
                    <a:pt x="2160" y="485"/>
                  </a:lnTo>
                  <a:lnTo>
                    <a:pt x="2174" y="471"/>
                  </a:lnTo>
                  <a:lnTo>
                    <a:pt x="2188" y="463"/>
                  </a:lnTo>
                  <a:lnTo>
                    <a:pt x="2210" y="455"/>
                  </a:lnTo>
                  <a:lnTo>
                    <a:pt x="2230" y="455"/>
                  </a:lnTo>
                  <a:lnTo>
                    <a:pt x="2240" y="473"/>
                  </a:lnTo>
                  <a:lnTo>
                    <a:pt x="2240" y="493"/>
                  </a:lnTo>
                  <a:lnTo>
                    <a:pt x="2223" y="507"/>
                  </a:lnTo>
                  <a:lnTo>
                    <a:pt x="2208" y="522"/>
                  </a:lnTo>
                  <a:lnTo>
                    <a:pt x="2188" y="523"/>
                  </a:lnTo>
                  <a:lnTo>
                    <a:pt x="2164" y="535"/>
                  </a:lnTo>
                  <a:lnTo>
                    <a:pt x="2142" y="527"/>
                  </a:lnTo>
                  <a:lnTo>
                    <a:pt x="2131" y="537"/>
                  </a:lnTo>
                  <a:lnTo>
                    <a:pt x="2107" y="537"/>
                  </a:lnTo>
                  <a:lnTo>
                    <a:pt x="2075" y="537"/>
                  </a:lnTo>
                  <a:lnTo>
                    <a:pt x="2062" y="550"/>
                  </a:lnTo>
                  <a:lnTo>
                    <a:pt x="2038" y="550"/>
                  </a:lnTo>
                  <a:lnTo>
                    <a:pt x="2019" y="559"/>
                  </a:lnTo>
                  <a:lnTo>
                    <a:pt x="2024" y="573"/>
                  </a:lnTo>
                  <a:lnTo>
                    <a:pt x="2011" y="578"/>
                  </a:lnTo>
                  <a:lnTo>
                    <a:pt x="1996" y="575"/>
                  </a:lnTo>
                  <a:lnTo>
                    <a:pt x="1983" y="575"/>
                  </a:lnTo>
                  <a:lnTo>
                    <a:pt x="1980" y="585"/>
                  </a:lnTo>
                  <a:lnTo>
                    <a:pt x="1966" y="581"/>
                  </a:lnTo>
                  <a:lnTo>
                    <a:pt x="1966" y="596"/>
                  </a:lnTo>
                  <a:lnTo>
                    <a:pt x="1952" y="606"/>
                  </a:lnTo>
                  <a:lnTo>
                    <a:pt x="1940" y="616"/>
                  </a:lnTo>
                  <a:lnTo>
                    <a:pt x="1940" y="601"/>
                  </a:lnTo>
                  <a:lnTo>
                    <a:pt x="1930" y="610"/>
                  </a:lnTo>
                  <a:lnTo>
                    <a:pt x="1932" y="626"/>
                  </a:lnTo>
                  <a:lnTo>
                    <a:pt x="1923" y="626"/>
                  </a:lnTo>
                  <a:lnTo>
                    <a:pt x="1916" y="620"/>
                  </a:lnTo>
                  <a:lnTo>
                    <a:pt x="1916" y="628"/>
                  </a:lnTo>
                  <a:lnTo>
                    <a:pt x="1916" y="640"/>
                  </a:lnTo>
                  <a:lnTo>
                    <a:pt x="1908" y="632"/>
                  </a:lnTo>
                  <a:lnTo>
                    <a:pt x="1900" y="641"/>
                  </a:lnTo>
                  <a:lnTo>
                    <a:pt x="1892" y="649"/>
                  </a:lnTo>
                  <a:lnTo>
                    <a:pt x="1881" y="649"/>
                  </a:lnTo>
                  <a:lnTo>
                    <a:pt x="1873" y="660"/>
                  </a:lnTo>
                  <a:lnTo>
                    <a:pt x="1863" y="677"/>
                  </a:lnTo>
                  <a:lnTo>
                    <a:pt x="1845" y="677"/>
                  </a:lnTo>
                  <a:lnTo>
                    <a:pt x="1832" y="689"/>
                  </a:lnTo>
                  <a:lnTo>
                    <a:pt x="1832" y="704"/>
                  </a:lnTo>
                  <a:lnTo>
                    <a:pt x="1819" y="709"/>
                  </a:lnTo>
                  <a:lnTo>
                    <a:pt x="1813" y="725"/>
                  </a:lnTo>
                  <a:lnTo>
                    <a:pt x="1803" y="737"/>
                  </a:lnTo>
                  <a:lnTo>
                    <a:pt x="1803" y="757"/>
                  </a:lnTo>
                  <a:lnTo>
                    <a:pt x="1796" y="772"/>
                  </a:lnTo>
                  <a:lnTo>
                    <a:pt x="1804" y="793"/>
                  </a:lnTo>
                  <a:lnTo>
                    <a:pt x="1797" y="813"/>
                  </a:lnTo>
                  <a:lnTo>
                    <a:pt x="1807" y="828"/>
                  </a:lnTo>
                  <a:lnTo>
                    <a:pt x="1811" y="842"/>
                  </a:lnTo>
                  <a:lnTo>
                    <a:pt x="1805" y="846"/>
                  </a:lnTo>
                  <a:lnTo>
                    <a:pt x="1792" y="853"/>
                  </a:lnTo>
                  <a:lnTo>
                    <a:pt x="1792" y="842"/>
                  </a:lnTo>
                  <a:lnTo>
                    <a:pt x="1779" y="836"/>
                  </a:lnTo>
                  <a:lnTo>
                    <a:pt x="1779" y="836"/>
                  </a:lnTo>
                  <a:close/>
                  <a:moveTo>
                    <a:pt x="2294" y="41"/>
                  </a:moveTo>
                  <a:lnTo>
                    <a:pt x="2287" y="44"/>
                  </a:lnTo>
                  <a:lnTo>
                    <a:pt x="2292" y="51"/>
                  </a:lnTo>
                  <a:lnTo>
                    <a:pt x="2292" y="58"/>
                  </a:lnTo>
                  <a:lnTo>
                    <a:pt x="2302" y="58"/>
                  </a:lnTo>
                  <a:lnTo>
                    <a:pt x="2302" y="45"/>
                  </a:lnTo>
                  <a:lnTo>
                    <a:pt x="2294" y="41"/>
                  </a:lnTo>
                  <a:close/>
                  <a:moveTo>
                    <a:pt x="2291" y="99"/>
                  </a:moveTo>
                  <a:lnTo>
                    <a:pt x="2287" y="106"/>
                  </a:lnTo>
                  <a:lnTo>
                    <a:pt x="2270" y="110"/>
                  </a:lnTo>
                  <a:lnTo>
                    <a:pt x="2258" y="115"/>
                  </a:lnTo>
                  <a:lnTo>
                    <a:pt x="2267" y="119"/>
                  </a:lnTo>
                  <a:lnTo>
                    <a:pt x="2263" y="128"/>
                  </a:lnTo>
                  <a:lnTo>
                    <a:pt x="2270" y="131"/>
                  </a:lnTo>
                  <a:lnTo>
                    <a:pt x="2284" y="131"/>
                  </a:lnTo>
                  <a:lnTo>
                    <a:pt x="2296" y="119"/>
                  </a:lnTo>
                  <a:lnTo>
                    <a:pt x="2304" y="110"/>
                  </a:lnTo>
                  <a:lnTo>
                    <a:pt x="2302" y="98"/>
                  </a:lnTo>
                  <a:lnTo>
                    <a:pt x="2291" y="99"/>
                  </a:lnTo>
                  <a:close/>
                  <a:moveTo>
                    <a:pt x="2236" y="87"/>
                  </a:moveTo>
                  <a:lnTo>
                    <a:pt x="2232" y="90"/>
                  </a:lnTo>
                  <a:lnTo>
                    <a:pt x="2239" y="98"/>
                  </a:lnTo>
                  <a:lnTo>
                    <a:pt x="2252" y="92"/>
                  </a:lnTo>
                  <a:lnTo>
                    <a:pt x="2252" y="82"/>
                  </a:lnTo>
                  <a:lnTo>
                    <a:pt x="2244" y="82"/>
                  </a:lnTo>
                  <a:lnTo>
                    <a:pt x="2236" y="87"/>
                  </a:lnTo>
                  <a:close/>
                  <a:moveTo>
                    <a:pt x="2226" y="107"/>
                  </a:moveTo>
                  <a:lnTo>
                    <a:pt x="2216" y="96"/>
                  </a:lnTo>
                  <a:lnTo>
                    <a:pt x="2210" y="104"/>
                  </a:lnTo>
                  <a:lnTo>
                    <a:pt x="2204" y="115"/>
                  </a:lnTo>
                  <a:lnTo>
                    <a:pt x="2204" y="128"/>
                  </a:lnTo>
                  <a:lnTo>
                    <a:pt x="2215" y="130"/>
                  </a:lnTo>
                  <a:lnTo>
                    <a:pt x="2218" y="138"/>
                  </a:lnTo>
                  <a:lnTo>
                    <a:pt x="2232" y="135"/>
                  </a:lnTo>
                  <a:lnTo>
                    <a:pt x="2240" y="126"/>
                  </a:lnTo>
                  <a:lnTo>
                    <a:pt x="2247" y="119"/>
                  </a:lnTo>
                  <a:lnTo>
                    <a:pt x="2251" y="108"/>
                  </a:lnTo>
                  <a:lnTo>
                    <a:pt x="2242" y="108"/>
                  </a:lnTo>
                  <a:lnTo>
                    <a:pt x="2226" y="107"/>
                  </a:lnTo>
                  <a:close/>
                  <a:moveTo>
                    <a:pt x="2187" y="154"/>
                  </a:moveTo>
                  <a:lnTo>
                    <a:pt x="2182" y="158"/>
                  </a:lnTo>
                  <a:lnTo>
                    <a:pt x="2182" y="167"/>
                  </a:lnTo>
                  <a:lnTo>
                    <a:pt x="2191" y="167"/>
                  </a:lnTo>
                  <a:lnTo>
                    <a:pt x="2195" y="156"/>
                  </a:lnTo>
                  <a:lnTo>
                    <a:pt x="2187" y="154"/>
                  </a:lnTo>
                  <a:close/>
                  <a:moveTo>
                    <a:pt x="2168" y="120"/>
                  </a:moveTo>
                  <a:lnTo>
                    <a:pt x="2163" y="115"/>
                  </a:lnTo>
                  <a:lnTo>
                    <a:pt x="2148" y="115"/>
                  </a:lnTo>
                  <a:lnTo>
                    <a:pt x="2148" y="126"/>
                  </a:lnTo>
                  <a:lnTo>
                    <a:pt x="2140" y="134"/>
                  </a:lnTo>
                  <a:lnTo>
                    <a:pt x="2146" y="138"/>
                  </a:lnTo>
                  <a:lnTo>
                    <a:pt x="2162" y="135"/>
                  </a:lnTo>
                  <a:lnTo>
                    <a:pt x="2167" y="140"/>
                  </a:lnTo>
                  <a:lnTo>
                    <a:pt x="2182" y="138"/>
                  </a:lnTo>
                  <a:lnTo>
                    <a:pt x="2186" y="128"/>
                  </a:lnTo>
                  <a:lnTo>
                    <a:pt x="2195" y="131"/>
                  </a:lnTo>
                  <a:lnTo>
                    <a:pt x="2190" y="119"/>
                  </a:lnTo>
                  <a:lnTo>
                    <a:pt x="2180" y="110"/>
                  </a:lnTo>
                  <a:lnTo>
                    <a:pt x="2168" y="120"/>
                  </a:lnTo>
                  <a:close/>
                  <a:moveTo>
                    <a:pt x="2242" y="8"/>
                  </a:moveTo>
                  <a:lnTo>
                    <a:pt x="2238" y="16"/>
                  </a:lnTo>
                  <a:lnTo>
                    <a:pt x="2244" y="23"/>
                  </a:lnTo>
                  <a:lnTo>
                    <a:pt x="2251" y="16"/>
                  </a:lnTo>
                  <a:lnTo>
                    <a:pt x="2242" y="8"/>
                  </a:lnTo>
                  <a:close/>
                  <a:moveTo>
                    <a:pt x="2227" y="27"/>
                  </a:moveTo>
                  <a:lnTo>
                    <a:pt x="2216" y="27"/>
                  </a:lnTo>
                  <a:lnTo>
                    <a:pt x="2216" y="39"/>
                  </a:lnTo>
                  <a:lnTo>
                    <a:pt x="2228" y="51"/>
                  </a:lnTo>
                  <a:lnTo>
                    <a:pt x="2228" y="60"/>
                  </a:lnTo>
                  <a:lnTo>
                    <a:pt x="2238" y="55"/>
                  </a:lnTo>
                  <a:lnTo>
                    <a:pt x="2232" y="43"/>
                  </a:lnTo>
                  <a:lnTo>
                    <a:pt x="2227" y="27"/>
                  </a:lnTo>
                  <a:close/>
                  <a:moveTo>
                    <a:pt x="2160" y="62"/>
                  </a:moveTo>
                  <a:lnTo>
                    <a:pt x="2151" y="62"/>
                  </a:lnTo>
                  <a:lnTo>
                    <a:pt x="2150" y="64"/>
                  </a:lnTo>
                  <a:lnTo>
                    <a:pt x="2156" y="71"/>
                  </a:lnTo>
                  <a:lnTo>
                    <a:pt x="2160" y="62"/>
                  </a:lnTo>
                  <a:close/>
                  <a:moveTo>
                    <a:pt x="2168" y="78"/>
                  </a:moveTo>
                  <a:lnTo>
                    <a:pt x="2162" y="83"/>
                  </a:lnTo>
                  <a:lnTo>
                    <a:pt x="2168" y="91"/>
                  </a:lnTo>
                  <a:lnTo>
                    <a:pt x="2176" y="90"/>
                  </a:lnTo>
                  <a:lnTo>
                    <a:pt x="2168" y="78"/>
                  </a:lnTo>
                  <a:close/>
                  <a:moveTo>
                    <a:pt x="2175" y="48"/>
                  </a:moveTo>
                  <a:lnTo>
                    <a:pt x="2175" y="56"/>
                  </a:lnTo>
                  <a:lnTo>
                    <a:pt x="2184" y="56"/>
                  </a:lnTo>
                  <a:lnTo>
                    <a:pt x="2182" y="47"/>
                  </a:lnTo>
                  <a:lnTo>
                    <a:pt x="2175" y="48"/>
                  </a:lnTo>
                  <a:close/>
                  <a:moveTo>
                    <a:pt x="2187" y="70"/>
                  </a:moveTo>
                  <a:lnTo>
                    <a:pt x="2187" y="78"/>
                  </a:lnTo>
                  <a:lnTo>
                    <a:pt x="2195" y="78"/>
                  </a:lnTo>
                  <a:lnTo>
                    <a:pt x="2190" y="71"/>
                  </a:lnTo>
                  <a:lnTo>
                    <a:pt x="2187" y="70"/>
                  </a:lnTo>
                  <a:close/>
                  <a:moveTo>
                    <a:pt x="2195" y="87"/>
                  </a:moveTo>
                  <a:lnTo>
                    <a:pt x="2199" y="91"/>
                  </a:lnTo>
                  <a:lnTo>
                    <a:pt x="2204" y="84"/>
                  </a:lnTo>
                  <a:lnTo>
                    <a:pt x="2195" y="87"/>
                  </a:lnTo>
                  <a:close/>
                  <a:moveTo>
                    <a:pt x="2204" y="52"/>
                  </a:moveTo>
                  <a:lnTo>
                    <a:pt x="2204" y="62"/>
                  </a:lnTo>
                  <a:lnTo>
                    <a:pt x="2212" y="62"/>
                  </a:lnTo>
                  <a:lnTo>
                    <a:pt x="2212" y="52"/>
                  </a:lnTo>
                  <a:lnTo>
                    <a:pt x="2204" y="52"/>
                  </a:lnTo>
                  <a:close/>
                  <a:moveTo>
                    <a:pt x="2192" y="33"/>
                  </a:moveTo>
                  <a:lnTo>
                    <a:pt x="2198" y="41"/>
                  </a:lnTo>
                  <a:lnTo>
                    <a:pt x="2202" y="37"/>
                  </a:lnTo>
                  <a:lnTo>
                    <a:pt x="2198" y="33"/>
                  </a:lnTo>
                  <a:lnTo>
                    <a:pt x="2192" y="33"/>
                  </a:lnTo>
                  <a:close/>
                  <a:moveTo>
                    <a:pt x="2107" y="90"/>
                  </a:moveTo>
                  <a:lnTo>
                    <a:pt x="2102" y="94"/>
                  </a:lnTo>
                  <a:lnTo>
                    <a:pt x="2110" y="103"/>
                  </a:lnTo>
                  <a:lnTo>
                    <a:pt x="2120" y="103"/>
                  </a:lnTo>
                  <a:lnTo>
                    <a:pt x="2120" y="87"/>
                  </a:lnTo>
                  <a:lnTo>
                    <a:pt x="2114" y="79"/>
                  </a:lnTo>
                  <a:lnTo>
                    <a:pt x="2107" y="90"/>
                  </a:lnTo>
                  <a:close/>
                  <a:moveTo>
                    <a:pt x="2128" y="79"/>
                  </a:moveTo>
                  <a:lnTo>
                    <a:pt x="2132" y="88"/>
                  </a:lnTo>
                  <a:lnTo>
                    <a:pt x="2139" y="88"/>
                  </a:lnTo>
                  <a:lnTo>
                    <a:pt x="2139" y="80"/>
                  </a:lnTo>
                  <a:lnTo>
                    <a:pt x="2128" y="79"/>
                  </a:lnTo>
                  <a:close/>
                  <a:moveTo>
                    <a:pt x="2091" y="25"/>
                  </a:moveTo>
                  <a:lnTo>
                    <a:pt x="2084" y="32"/>
                  </a:lnTo>
                  <a:lnTo>
                    <a:pt x="2084" y="39"/>
                  </a:lnTo>
                  <a:lnTo>
                    <a:pt x="2076" y="47"/>
                  </a:lnTo>
                  <a:lnTo>
                    <a:pt x="2063" y="37"/>
                  </a:lnTo>
                  <a:lnTo>
                    <a:pt x="2052" y="43"/>
                  </a:lnTo>
                  <a:lnTo>
                    <a:pt x="2052" y="51"/>
                  </a:lnTo>
                  <a:lnTo>
                    <a:pt x="2038" y="41"/>
                  </a:lnTo>
                  <a:lnTo>
                    <a:pt x="2027" y="45"/>
                  </a:lnTo>
                  <a:lnTo>
                    <a:pt x="2031" y="62"/>
                  </a:lnTo>
                  <a:lnTo>
                    <a:pt x="2040" y="58"/>
                  </a:lnTo>
                  <a:lnTo>
                    <a:pt x="2040" y="68"/>
                  </a:lnTo>
                  <a:lnTo>
                    <a:pt x="2051" y="71"/>
                  </a:lnTo>
                  <a:lnTo>
                    <a:pt x="2060" y="62"/>
                  </a:lnTo>
                  <a:lnTo>
                    <a:pt x="2075" y="56"/>
                  </a:lnTo>
                  <a:lnTo>
                    <a:pt x="2086" y="59"/>
                  </a:lnTo>
                  <a:lnTo>
                    <a:pt x="2103" y="59"/>
                  </a:lnTo>
                  <a:lnTo>
                    <a:pt x="2115" y="47"/>
                  </a:lnTo>
                  <a:lnTo>
                    <a:pt x="2103" y="36"/>
                  </a:lnTo>
                  <a:lnTo>
                    <a:pt x="2111" y="28"/>
                  </a:lnTo>
                  <a:lnTo>
                    <a:pt x="2098" y="20"/>
                  </a:lnTo>
                  <a:lnTo>
                    <a:pt x="2091" y="25"/>
                  </a:lnTo>
                  <a:close/>
                  <a:moveTo>
                    <a:pt x="2054" y="8"/>
                  </a:moveTo>
                  <a:lnTo>
                    <a:pt x="2039" y="8"/>
                  </a:lnTo>
                  <a:lnTo>
                    <a:pt x="2030" y="0"/>
                  </a:lnTo>
                  <a:lnTo>
                    <a:pt x="2024" y="12"/>
                  </a:lnTo>
                  <a:lnTo>
                    <a:pt x="2031" y="19"/>
                  </a:lnTo>
                  <a:lnTo>
                    <a:pt x="2035" y="28"/>
                  </a:lnTo>
                  <a:lnTo>
                    <a:pt x="2052" y="23"/>
                  </a:lnTo>
                  <a:lnTo>
                    <a:pt x="2058" y="28"/>
                  </a:lnTo>
                  <a:lnTo>
                    <a:pt x="2070" y="24"/>
                  </a:lnTo>
                  <a:lnTo>
                    <a:pt x="2074" y="28"/>
                  </a:lnTo>
                  <a:lnTo>
                    <a:pt x="2074" y="19"/>
                  </a:lnTo>
                  <a:lnTo>
                    <a:pt x="2066" y="11"/>
                  </a:lnTo>
                  <a:lnTo>
                    <a:pt x="2059" y="11"/>
                  </a:lnTo>
                  <a:lnTo>
                    <a:pt x="2054" y="8"/>
                  </a:lnTo>
                  <a:close/>
                  <a:moveTo>
                    <a:pt x="2066" y="79"/>
                  </a:moveTo>
                  <a:lnTo>
                    <a:pt x="2060" y="79"/>
                  </a:lnTo>
                  <a:lnTo>
                    <a:pt x="2063" y="87"/>
                  </a:lnTo>
                  <a:lnTo>
                    <a:pt x="2075" y="88"/>
                  </a:lnTo>
                  <a:lnTo>
                    <a:pt x="2066" y="79"/>
                  </a:lnTo>
                  <a:close/>
                  <a:moveTo>
                    <a:pt x="2068" y="96"/>
                  </a:moveTo>
                  <a:lnTo>
                    <a:pt x="2063" y="103"/>
                  </a:lnTo>
                  <a:lnTo>
                    <a:pt x="2067" y="107"/>
                  </a:lnTo>
                  <a:lnTo>
                    <a:pt x="2079" y="110"/>
                  </a:lnTo>
                  <a:lnTo>
                    <a:pt x="2071" y="103"/>
                  </a:lnTo>
                  <a:lnTo>
                    <a:pt x="2068" y="96"/>
                  </a:lnTo>
                  <a:close/>
                  <a:moveTo>
                    <a:pt x="2118" y="11"/>
                  </a:moveTo>
                  <a:lnTo>
                    <a:pt x="2118" y="19"/>
                  </a:lnTo>
                  <a:lnTo>
                    <a:pt x="2124" y="19"/>
                  </a:lnTo>
                  <a:lnTo>
                    <a:pt x="2131" y="12"/>
                  </a:lnTo>
                  <a:lnTo>
                    <a:pt x="2118" y="11"/>
                  </a:lnTo>
                  <a:close/>
                  <a:moveTo>
                    <a:pt x="0" y="864"/>
                  </a:moveTo>
                  <a:lnTo>
                    <a:pt x="15" y="867"/>
                  </a:lnTo>
                  <a:lnTo>
                    <a:pt x="26" y="864"/>
                  </a:lnTo>
                  <a:lnTo>
                    <a:pt x="31" y="854"/>
                  </a:lnTo>
                  <a:lnTo>
                    <a:pt x="42" y="857"/>
                  </a:lnTo>
                  <a:lnTo>
                    <a:pt x="51" y="867"/>
                  </a:lnTo>
                  <a:lnTo>
                    <a:pt x="52" y="880"/>
                  </a:lnTo>
                  <a:lnTo>
                    <a:pt x="60" y="883"/>
                  </a:lnTo>
                  <a:lnTo>
                    <a:pt x="62" y="893"/>
                  </a:lnTo>
                  <a:lnTo>
                    <a:pt x="75" y="896"/>
                  </a:lnTo>
                  <a:lnTo>
                    <a:pt x="78" y="885"/>
                  </a:lnTo>
                  <a:lnTo>
                    <a:pt x="71" y="879"/>
                  </a:lnTo>
                  <a:lnTo>
                    <a:pt x="76" y="873"/>
                  </a:lnTo>
                  <a:lnTo>
                    <a:pt x="80" y="877"/>
                  </a:lnTo>
                  <a:lnTo>
                    <a:pt x="92" y="887"/>
                  </a:lnTo>
                  <a:lnTo>
                    <a:pt x="92" y="903"/>
                  </a:lnTo>
                  <a:lnTo>
                    <a:pt x="91" y="916"/>
                  </a:lnTo>
                  <a:lnTo>
                    <a:pt x="98" y="927"/>
                  </a:lnTo>
                  <a:lnTo>
                    <a:pt x="104" y="932"/>
                  </a:lnTo>
                  <a:lnTo>
                    <a:pt x="107" y="949"/>
                  </a:lnTo>
                  <a:lnTo>
                    <a:pt x="102" y="963"/>
                  </a:lnTo>
                  <a:lnTo>
                    <a:pt x="71" y="977"/>
                  </a:lnTo>
                  <a:lnTo>
                    <a:pt x="27" y="924"/>
                  </a:lnTo>
                  <a:lnTo>
                    <a:pt x="0" y="864"/>
                  </a:lnTo>
                  <a:lnTo>
                    <a:pt x="0" y="864"/>
                  </a:lnTo>
                  <a:close/>
                  <a:moveTo>
                    <a:pt x="1835" y="883"/>
                  </a:moveTo>
                  <a:lnTo>
                    <a:pt x="1823" y="889"/>
                  </a:lnTo>
                  <a:lnTo>
                    <a:pt x="1813" y="893"/>
                  </a:lnTo>
                  <a:lnTo>
                    <a:pt x="1815" y="913"/>
                  </a:lnTo>
                  <a:lnTo>
                    <a:pt x="1817" y="925"/>
                  </a:lnTo>
                  <a:lnTo>
                    <a:pt x="1825" y="928"/>
                  </a:lnTo>
                  <a:lnTo>
                    <a:pt x="1829" y="944"/>
                  </a:lnTo>
                  <a:lnTo>
                    <a:pt x="1845" y="947"/>
                  </a:lnTo>
                  <a:lnTo>
                    <a:pt x="1852" y="932"/>
                  </a:lnTo>
                  <a:lnTo>
                    <a:pt x="1844" y="919"/>
                  </a:lnTo>
                  <a:lnTo>
                    <a:pt x="1844" y="904"/>
                  </a:lnTo>
                  <a:lnTo>
                    <a:pt x="1835" y="883"/>
                  </a:lnTo>
                  <a:lnTo>
                    <a:pt x="1835" y="883"/>
                  </a:lnTo>
                  <a:close/>
                  <a:moveTo>
                    <a:pt x="1549" y="813"/>
                  </a:moveTo>
                  <a:lnTo>
                    <a:pt x="1532" y="817"/>
                  </a:lnTo>
                  <a:lnTo>
                    <a:pt x="1521" y="832"/>
                  </a:lnTo>
                  <a:lnTo>
                    <a:pt x="1513" y="842"/>
                  </a:lnTo>
                  <a:lnTo>
                    <a:pt x="1519" y="857"/>
                  </a:lnTo>
                  <a:lnTo>
                    <a:pt x="1532" y="863"/>
                  </a:lnTo>
                  <a:lnTo>
                    <a:pt x="1544" y="867"/>
                  </a:lnTo>
                  <a:lnTo>
                    <a:pt x="1556" y="859"/>
                  </a:lnTo>
                  <a:lnTo>
                    <a:pt x="1569" y="861"/>
                  </a:lnTo>
                  <a:lnTo>
                    <a:pt x="1576" y="844"/>
                  </a:lnTo>
                  <a:lnTo>
                    <a:pt x="1565" y="829"/>
                  </a:lnTo>
                  <a:lnTo>
                    <a:pt x="1564" y="817"/>
                  </a:lnTo>
                  <a:lnTo>
                    <a:pt x="1549" y="813"/>
                  </a:lnTo>
                  <a:lnTo>
                    <a:pt x="1549" y="813"/>
                  </a:lnTo>
                  <a:close/>
                </a:path>
              </a:pathLst>
            </a:custGeom>
            <a:solidFill>
              <a:srgbClr val="456EA9"/>
            </a:solidFill>
            <a:ln w="7938" cap="flat">
              <a:solidFill>
                <a:sysClr val="window" lastClr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0" name="Freeform 11">
              <a:extLst>
                <a:ext uri="{FF2B5EF4-FFF2-40B4-BE49-F238E27FC236}">
                  <a16:creationId xmlns:a16="http://schemas.microsoft.com/office/drawing/2014/main" id="{939F473E-B8DC-BA71-B3F6-E4CF798C1D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" y="2299"/>
              <a:ext cx="240" cy="181"/>
            </a:xfrm>
            <a:custGeom>
              <a:avLst/>
              <a:gdLst>
                <a:gd name="T0" fmla="*/ 135 w 180"/>
                <a:gd name="T1" fmla="*/ 35 h 135"/>
                <a:gd name="T2" fmla="*/ 83 w 180"/>
                <a:gd name="T3" fmla="*/ 0 h 135"/>
                <a:gd name="T4" fmla="*/ 80 w 180"/>
                <a:gd name="T5" fmla="*/ 6 h 135"/>
                <a:gd name="T6" fmla="*/ 75 w 180"/>
                <a:gd name="T7" fmla="*/ 11 h 135"/>
                <a:gd name="T8" fmla="*/ 79 w 180"/>
                <a:gd name="T9" fmla="*/ 16 h 135"/>
                <a:gd name="T10" fmla="*/ 72 w 180"/>
                <a:gd name="T11" fmla="*/ 15 h 135"/>
                <a:gd name="T12" fmla="*/ 64 w 180"/>
                <a:gd name="T13" fmla="*/ 11 h 135"/>
                <a:gd name="T14" fmla="*/ 52 w 180"/>
                <a:gd name="T15" fmla="*/ 10 h 135"/>
                <a:gd name="T16" fmla="*/ 47 w 180"/>
                <a:gd name="T17" fmla="*/ 7 h 135"/>
                <a:gd name="T18" fmla="*/ 37 w 180"/>
                <a:gd name="T19" fmla="*/ 6 h 135"/>
                <a:gd name="T20" fmla="*/ 27 w 180"/>
                <a:gd name="T21" fmla="*/ 5 h 135"/>
                <a:gd name="T22" fmla="*/ 20 w 180"/>
                <a:gd name="T23" fmla="*/ 4 h 135"/>
                <a:gd name="T24" fmla="*/ 9 w 180"/>
                <a:gd name="T25" fmla="*/ 3 h 135"/>
                <a:gd name="T26" fmla="*/ 1 w 180"/>
                <a:gd name="T27" fmla="*/ 11 h 135"/>
                <a:gd name="T28" fmla="*/ 19 w 180"/>
                <a:gd name="T29" fmla="*/ 22 h 135"/>
                <a:gd name="T30" fmla="*/ 21 w 180"/>
                <a:gd name="T31" fmla="*/ 34 h 135"/>
                <a:gd name="T32" fmla="*/ 28 w 180"/>
                <a:gd name="T33" fmla="*/ 40 h 135"/>
                <a:gd name="T34" fmla="*/ 33 w 180"/>
                <a:gd name="T35" fmla="*/ 53 h 135"/>
                <a:gd name="T36" fmla="*/ 25 w 180"/>
                <a:gd name="T37" fmla="*/ 63 h 135"/>
                <a:gd name="T38" fmla="*/ 16 w 180"/>
                <a:gd name="T39" fmla="*/ 68 h 135"/>
                <a:gd name="T40" fmla="*/ 12 w 180"/>
                <a:gd name="T41" fmla="*/ 73 h 135"/>
                <a:gd name="T42" fmla="*/ 4 w 180"/>
                <a:gd name="T43" fmla="*/ 71 h 135"/>
                <a:gd name="T44" fmla="*/ 4 w 180"/>
                <a:gd name="T45" fmla="*/ 78 h 135"/>
                <a:gd name="T46" fmla="*/ 8 w 180"/>
                <a:gd name="T47" fmla="*/ 87 h 135"/>
                <a:gd name="T48" fmla="*/ 16 w 180"/>
                <a:gd name="T49" fmla="*/ 95 h 135"/>
                <a:gd name="T50" fmla="*/ 27 w 180"/>
                <a:gd name="T51" fmla="*/ 99 h 135"/>
                <a:gd name="T52" fmla="*/ 39 w 180"/>
                <a:gd name="T53" fmla="*/ 99 h 135"/>
                <a:gd name="T54" fmla="*/ 49 w 180"/>
                <a:gd name="T55" fmla="*/ 97 h 135"/>
                <a:gd name="T56" fmla="*/ 58 w 180"/>
                <a:gd name="T57" fmla="*/ 95 h 135"/>
                <a:gd name="T58" fmla="*/ 73 w 180"/>
                <a:gd name="T59" fmla="*/ 99 h 135"/>
                <a:gd name="T60" fmla="*/ 82 w 180"/>
                <a:gd name="T61" fmla="*/ 103 h 135"/>
                <a:gd name="T62" fmla="*/ 91 w 180"/>
                <a:gd name="T63" fmla="*/ 107 h 135"/>
                <a:gd name="T64" fmla="*/ 101 w 180"/>
                <a:gd name="T65" fmla="*/ 106 h 135"/>
                <a:gd name="T66" fmla="*/ 106 w 180"/>
                <a:gd name="T67" fmla="*/ 108 h 135"/>
                <a:gd name="T68" fmla="*/ 111 w 180"/>
                <a:gd name="T69" fmla="*/ 106 h 135"/>
                <a:gd name="T70" fmla="*/ 124 w 180"/>
                <a:gd name="T71" fmla="*/ 109 h 135"/>
                <a:gd name="T72" fmla="*/ 128 w 180"/>
                <a:gd name="T73" fmla="*/ 119 h 135"/>
                <a:gd name="T74" fmla="*/ 136 w 180"/>
                <a:gd name="T75" fmla="*/ 125 h 135"/>
                <a:gd name="T76" fmla="*/ 142 w 180"/>
                <a:gd name="T77" fmla="*/ 129 h 135"/>
                <a:gd name="T78" fmla="*/ 149 w 180"/>
                <a:gd name="T79" fmla="*/ 131 h 135"/>
                <a:gd name="T80" fmla="*/ 161 w 180"/>
                <a:gd name="T81" fmla="*/ 128 h 135"/>
                <a:gd name="T82" fmla="*/ 170 w 180"/>
                <a:gd name="T83" fmla="*/ 125 h 135"/>
                <a:gd name="T84" fmla="*/ 176 w 180"/>
                <a:gd name="T85" fmla="*/ 127 h 135"/>
                <a:gd name="T86" fmla="*/ 178 w 180"/>
                <a:gd name="T87" fmla="*/ 121 h 135"/>
                <a:gd name="T88" fmla="*/ 170 w 180"/>
                <a:gd name="T89" fmla="*/ 113 h 135"/>
                <a:gd name="T90" fmla="*/ 160 w 180"/>
                <a:gd name="T91" fmla="*/ 107 h 135"/>
                <a:gd name="T92" fmla="*/ 150 w 180"/>
                <a:gd name="T93" fmla="*/ 107 h 135"/>
                <a:gd name="T94" fmla="*/ 150 w 180"/>
                <a:gd name="T95" fmla="*/ 98 h 135"/>
                <a:gd name="T96" fmla="*/ 140 w 180"/>
                <a:gd name="T97" fmla="*/ 100 h 135"/>
                <a:gd name="T98" fmla="*/ 129 w 180"/>
                <a:gd name="T99" fmla="*/ 98 h 135"/>
                <a:gd name="T100" fmla="*/ 123 w 180"/>
                <a:gd name="T101" fmla="*/ 89 h 135"/>
                <a:gd name="T102" fmla="*/ 123 w 180"/>
                <a:gd name="T103" fmla="*/ 81 h 135"/>
                <a:gd name="T104" fmla="*/ 123 w 180"/>
                <a:gd name="T105" fmla="*/ 71 h 135"/>
                <a:gd name="T106" fmla="*/ 124 w 180"/>
                <a:gd name="T107" fmla="*/ 62 h 135"/>
                <a:gd name="T108" fmla="*/ 127 w 180"/>
                <a:gd name="T109" fmla="*/ 50 h 135"/>
                <a:gd name="T110" fmla="*/ 131 w 180"/>
                <a:gd name="T111" fmla="*/ 41 h 135"/>
                <a:gd name="T112" fmla="*/ 139 w 180"/>
                <a:gd name="T113" fmla="*/ 33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80" h="135">
                  <a:moveTo>
                    <a:pt x="143" y="33"/>
                  </a:moveTo>
                  <a:cubicBezTo>
                    <a:pt x="143" y="33"/>
                    <a:pt x="143" y="33"/>
                    <a:pt x="143" y="33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1" y="34"/>
                    <a:pt x="141" y="34"/>
                    <a:pt x="141" y="34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38" y="33"/>
                    <a:pt x="138" y="33"/>
                    <a:pt x="138" y="33"/>
                  </a:cubicBezTo>
                  <a:cubicBezTo>
                    <a:pt x="138" y="33"/>
                    <a:pt x="138" y="33"/>
                    <a:pt x="138" y="33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5" y="35"/>
                    <a:pt x="135" y="35"/>
                    <a:pt x="135" y="35"/>
                  </a:cubicBezTo>
                  <a:cubicBezTo>
                    <a:pt x="135" y="36"/>
                    <a:pt x="135" y="36"/>
                    <a:pt x="135" y="36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31" y="35"/>
                    <a:pt x="131" y="35"/>
                    <a:pt x="131" y="35"/>
                  </a:cubicBezTo>
                  <a:cubicBezTo>
                    <a:pt x="127" y="32"/>
                    <a:pt x="127" y="32"/>
                    <a:pt x="127" y="32"/>
                  </a:cubicBezTo>
                  <a:cubicBezTo>
                    <a:pt x="119" y="37"/>
                    <a:pt x="119" y="37"/>
                    <a:pt x="119" y="37"/>
                  </a:cubicBezTo>
                  <a:cubicBezTo>
                    <a:pt x="111" y="33"/>
                    <a:pt x="111" y="33"/>
                    <a:pt x="111" y="33"/>
                  </a:cubicBezTo>
                  <a:cubicBezTo>
                    <a:pt x="110" y="26"/>
                    <a:pt x="110" y="26"/>
                    <a:pt x="110" y="26"/>
                  </a:cubicBezTo>
                  <a:cubicBezTo>
                    <a:pt x="100" y="14"/>
                    <a:pt x="100" y="14"/>
                    <a:pt x="100" y="14"/>
                  </a:cubicBezTo>
                  <a:cubicBezTo>
                    <a:pt x="89" y="1"/>
                    <a:pt x="89" y="1"/>
                    <a:pt x="89" y="1"/>
                  </a:cubicBezTo>
                  <a:cubicBezTo>
                    <a:pt x="89" y="1"/>
                    <a:pt x="83" y="0"/>
                    <a:pt x="83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83" y="3"/>
                    <a:pt x="83" y="3"/>
                    <a:pt x="83" y="3"/>
                  </a:cubicBezTo>
                  <a:cubicBezTo>
                    <a:pt x="82" y="4"/>
                    <a:pt x="82" y="4"/>
                    <a:pt x="82" y="4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1" y="5"/>
                    <a:pt x="81" y="5"/>
                    <a:pt x="81" y="5"/>
                  </a:cubicBezTo>
                  <a:cubicBezTo>
                    <a:pt x="80" y="5"/>
                    <a:pt x="80" y="5"/>
                    <a:pt x="80" y="5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79" y="6"/>
                    <a:pt x="79" y="6"/>
                    <a:pt x="79" y="6"/>
                  </a:cubicBezTo>
                  <a:cubicBezTo>
                    <a:pt x="79" y="7"/>
                    <a:pt x="79" y="7"/>
                    <a:pt x="79" y="7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79" y="8"/>
                    <a:pt x="79" y="8"/>
                    <a:pt x="79" y="8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7" y="10"/>
                    <a:pt x="77" y="10"/>
                    <a:pt x="77" y="10"/>
                  </a:cubicBezTo>
                  <a:cubicBezTo>
                    <a:pt x="76" y="10"/>
                    <a:pt x="76" y="10"/>
                    <a:pt x="76" y="10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4" y="11"/>
                    <a:pt x="74" y="11"/>
                    <a:pt x="74" y="11"/>
                  </a:cubicBezTo>
                  <a:cubicBezTo>
                    <a:pt x="75" y="11"/>
                    <a:pt x="75" y="11"/>
                    <a:pt x="75" y="11"/>
                  </a:cubicBezTo>
                  <a:cubicBezTo>
                    <a:pt x="76" y="11"/>
                    <a:pt x="76" y="11"/>
                    <a:pt x="76" y="11"/>
                  </a:cubicBezTo>
                  <a:cubicBezTo>
                    <a:pt x="77" y="11"/>
                    <a:pt x="77" y="11"/>
                    <a:pt x="77" y="11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79" y="13"/>
                    <a:pt x="79" y="13"/>
                    <a:pt x="79" y="13"/>
                  </a:cubicBezTo>
                  <a:cubicBezTo>
                    <a:pt x="80" y="14"/>
                    <a:pt x="80" y="14"/>
                    <a:pt x="80" y="14"/>
                  </a:cubicBezTo>
                  <a:cubicBezTo>
                    <a:pt x="80" y="15"/>
                    <a:pt x="80" y="15"/>
                    <a:pt x="80" y="15"/>
                  </a:cubicBezTo>
                  <a:cubicBezTo>
                    <a:pt x="80" y="16"/>
                    <a:pt x="80" y="16"/>
                    <a:pt x="80" y="16"/>
                  </a:cubicBezTo>
                  <a:cubicBezTo>
                    <a:pt x="79" y="16"/>
                    <a:pt x="79" y="16"/>
                    <a:pt x="79" y="16"/>
                  </a:cubicBezTo>
                  <a:cubicBezTo>
                    <a:pt x="78" y="16"/>
                    <a:pt x="78" y="16"/>
                    <a:pt x="78" y="16"/>
                  </a:cubicBezTo>
                  <a:cubicBezTo>
                    <a:pt x="78" y="15"/>
                    <a:pt x="78" y="15"/>
                    <a:pt x="78" y="15"/>
                  </a:cubicBezTo>
                  <a:cubicBezTo>
                    <a:pt x="77" y="15"/>
                    <a:pt x="77" y="15"/>
                    <a:pt x="77" y="15"/>
                  </a:cubicBezTo>
                  <a:cubicBezTo>
                    <a:pt x="76" y="14"/>
                    <a:pt x="76" y="14"/>
                    <a:pt x="76" y="14"/>
                  </a:cubicBezTo>
                  <a:cubicBezTo>
                    <a:pt x="74" y="17"/>
                    <a:pt x="74" y="17"/>
                    <a:pt x="74" y="17"/>
                  </a:cubicBezTo>
                  <a:cubicBezTo>
                    <a:pt x="73" y="17"/>
                    <a:pt x="73" y="17"/>
                    <a:pt x="73" y="17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6"/>
                    <a:pt x="72" y="16"/>
                    <a:pt x="72" y="16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5"/>
                    <a:pt x="72" y="15"/>
                    <a:pt x="72" y="15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2" y="14"/>
                    <a:pt x="72" y="14"/>
                    <a:pt x="72" y="14"/>
                  </a:cubicBezTo>
                  <a:cubicBezTo>
                    <a:pt x="71" y="14"/>
                    <a:pt x="71" y="14"/>
                    <a:pt x="71" y="14"/>
                  </a:cubicBezTo>
                  <a:cubicBezTo>
                    <a:pt x="70" y="13"/>
                    <a:pt x="70" y="13"/>
                    <a:pt x="70" y="13"/>
                  </a:cubicBezTo>
                  <a:cubicBezTo>
                    <a:pt x="67" y="13"/>
                    <a:pt x="67" y="13"/>
                    <a:pt x="67" y="13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3"/>
                    <a:pt x="65" y="13"/>
                    <a:pt x="65" y="13"/>
                  </a:cubicBezTo>
                  <a:cubicBezTo>
                    <a:pt x="65" y="12"/>
                    <a:pt x="65" y="12"/>
                    <a:pt x="65" y="12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3" y="11"/>
                    <a:pt x="63" y="11"/>
                    <a:pt x="63" y="11"/>
                  </a:cubicBezTo>
                  <a:cubicBezTo>
                    <a:pt x="62" y="11"/>
                    <a:pt x="62" y="11"/>
                    <a:pt x="62" y="11"/>
                  </a:cubicBezTo>
                  <a:cubicBezTo>
                    <a:pt x="60" y="10"/>
                    <a:pt x="60" y="10"/>
                    <a:pt x="60" y="10"/>
                  </a:cubicBezTo>
                  <a:cubicBezTo>
                    <a:pt x="59" y="11"/>
                    <a:pt x="59" y="11"/>
                    <a:pt x="59" y="11"/>
                  </a:cubicBezTo>
                  <a:cubicBezTo>
                    <a:pt x="58" y="11"/>
                    <a:pt x="58" y="11"/>
                    <a:pt x="58" y="11"/>
                  </a:cubicBezTo>
                  <a:cubicBezTo>
                    <a:pt x="57" y="11"/>
                    <a:pt x="57" y="11"/>
                    <a:pt x="57" y="11"/>
                  </a:cubicBezTo>
                  <a:cubicBezTo>
                    <a:pt x="56" y="11"/>
                    <a:pt x="56" y="11"/>
                    <a:pt x="56" y="11"/>
                  </a:cubicBezTo>
                  <a:cubicBezTo>
                    <a:pt x="55" y="10"/>
                    <a:pt x="55" y="10"/>
                    <a:pt x="55" y="10"/>
                  </a:cubicBezTo>
                  <a:cubicBezTo>
                    <a:pt x="53" y="10"/>
                    <a:pt x="53" y="10"/>
                    <a:pt x="53" y="10"/>
                  </a:cubicBezTo>
                  <a:cubicBezTo>
                    <a:pt x="52" y="10"/>
                    <a:pt x="52" y="10"/>
                    <a:pt x="52" y="10"/>
                  </a:cubicBezTo>
                  <a:cubicBezTo>
                    <a:pt x="51" y="10"/>
                    <a:pt x="51" y="10"/>
                    <a:pt x="51" y="10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48" y="8"/>
                    <a:pt x="48" y="8"/>
                    <a:pt x="48" y="8"/>
                  </a:cubicBezTo>
                  <a:cubicBezTo>
                    <a:pt x="48" y="7"/>
                    <a:pt x="48" y="7"/>
                    <a:pt x="48" y="7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8" y="6"/>
                    <a:pt x="48" y="6"/>
                    <a:pt x="48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6"/>
                    <a:pt x="47" y="6"/>
                    <a:pt x="47" y="6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7" y="7"/>
                    <a:pt x="47" y="7"/>
                    <a:pt x="47" y="7"/>
                  </a:cubicBezTo>
                  <a:cubicBezTo>
                    <a:pt x="46" y="8"/>
                    <a:pt x="46" y="8"/>
                    <a:pt x="46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44" y="8"/>
                    <a:pt x="44" y="8"/>
                    <a:pt x="44" y="8"/>
                  </a:cubicBezTo>
                  <a:cubicBezTo>
                    <a:pt x="44" y="7"/>
                    <a:pt x="44" y="7"/>
                    <a:pt x="44" y="7"/>
                  </a:cubicBezTo>
                  <a:cubicBezTo>
                    <a:pt x="42" y="7"/>
                    <a:pt x="42" y="7"/>
                    <a:pt x="42" y="7"/>
                  </a:cubicBezTo>
                  <a:cubicBezTo>
                    <a:pt x="41" y="7"/>
                    <a:pt x="41" y="7"/>
                    <a:pt x="41" y="7"/>
                  </a:cubicBezTo>
                  <a:cubicBezTo>
                    <a:pt x="40" y="7"/>
                    <a:pt x="40" y="7"/>
                    <a:pt x="40" y="7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38" y="6"/>
                    <a:pt x="38" y="6"/>
                    <a:pt x="38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7" y="6"/>
                    <a:pt x="37" y="6"/>
                    <a:pt x="37" y="6"/>
                  </a:cubicBezTo>
                  <a:cubicBezTo>
                    <a:pt x="35" y="6"/>
                    <a:pt x="35" y="6"/>
                    <a:pt x="35" y="6"/>
                  </a:cubicBezTo>
                  <a:cubicBezTo>
                    <a:pt x="34" y="5"/>
                    <a:pt x="34" y="5"/>
                    <a:pt x="34" y="5"/>
                  </a:cubicBezTo>
                  <a:cubicBezTo>
                    <a:pt x="33" y="5"/>
                    <a:pt x="33" y="5"/>
                    <a:pt x="33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1" y="5"/>
                    <a:pt x="31" y="5"/>
                    <a:pt x="31" y="5"/>
                  </a:cubicBezTo>
                  <a:cubicBezTo>
                    <a:pt x="30" y="5"/>
                    <a:pt x="30" y="5"/>
                    <a:pt x="30" y="5"/>
                  </a:cubicBezTo>
                  <a:cubicBezTo>
                    <a:pt x="29" y="5"/>
                    <a:pt x="29" y="5"/>
                    <a:pt x="29" y="5"/>
                  </a:cubicBezTo>
                  <a:cubicBezTo>
                    <a:pt x="28" y="4"/>
                    <a:pt x="28" y="4"/>
                    <a:pt x="28" y="4"/>
                  </a:cubicBezTo>
                  <a:cubicBezTo>
                    <a:pt x="27" y="5"/>
                    <a:pt x="27" y="5"/>
                    <a:pt x="27" y="5"/>
                  </a:cubicBezTo>
                  <a:cubicBezTo>
                    <a:pt x="26" y="5"/>
                    <a:pt x="26" y="5"/>
                    <a:pt x="26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4" y="6"/>
                    <a:pt x="24" y="6"/>
                    <a:pt x="24" y="6"/>
                  </a:cubicBezTo>
                  <a:cubicBezTo>
                    <a:pt x="23" y="7"/>
                    <a:pt x="23" y="7"/>
                    <a:pt x="23" y="7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1" y="5"/>
                    <a:pt x="21" y="5"/>
                    <a:pt x="21" y="5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20" y="4"/>
                    <a:pt x="20" y="4"/>
                    <a:pt x="20" y="4"/>
                  </a:cubicBezTo>
                  <a:cubicBezTo>
                    <a:pt x="19" y="5"/>
                    <a:pt x="19" y="5"/>
                    <a:pt x="19" y="5"/>
                  </a:cubicBezTo>
                  <a:cubicBezTo>
                    <a:pt x="18" y="5"/>
                    <a:pt x="18" y="5"/>
                    <a:pt x="18" y="5"/>
                  </a:cubicBezTo>
                  <a:cubicBezTo>
                    <a:pt x="17" y="5"/>
                    <a:pt x="17" y="5"/>
                    <a:pt x="17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5" y="4"/>
                    <a:pt x="15" y="4"/>
                    <a:pt x="15" y="4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3" y="3"/>
                    <a:pt x="13" y="3"/>
                    <a:pt x="13" y="3"/>
                  </a:cubicBezTo>
                  <a:cubicBezTo>
                    <a:pt x="11" y="3"/>
                    <a:pt x="11" y="3"/>
                    <a:pt x="11" y="3"/>
                  </a:cubicBezTo>
                  <a:cubicBezTo>
                    <a:pt x="10" y="3"/>
                    <a:pt x="10" y="3"/>
                    <a:pt x="10" y="3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5" y="3"/>
                    <a:pt x="5" y="3"/>
                    <a:pt x="5" y="3"/>
                  </a:cubicBezTo>
                  <a:cubicBezTo>
                    <a:pt x="4" y="3"/>
                    <a:pt x="4" y="3"/>
                    <a:pt x="4" y="3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1" y="4"/>
                    <a:pt x="1" y="4"/>
                    <a:pt x="1" y="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2" y="12"/>
                    <a:pt x="2" y="12"/>
                    <a:pt x="2" y="12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9" y="13"/>
                    <a:pt x="9" y="13"/>
                    <a:pt x="9" y="13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6" y="18"/>
                    <a:pt x="16" y="18"/>
                    <a:pt x="16" y="18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19" y="22"/>
                    <a:pt x="19" y="22"/>
                    <a:pt x="19" y="22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0" y="27"/>
                    <a:pt x="20" y="27"/>
                    <a:pt x="20" y="27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29"/>
                    <a:pt x="21" y="29"/>
                    <a:pt x="21" y="29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0"/>
                    <a:pt x="21" y="30"/>
                    <a:pt x="21" y="30"/>
                  </a:cubicBezTo>
                  <a:cubicBezTo>
                    <a:pt x="21" y="32"/>
                    <a:pt x="21" y="32"/>
                    <a:pt x="21" y="32"/>
                  </a:cubicBezTo>
                  <a:cubicBezTo>
                    <a:pt x="21" y="33"/>
                    <a:pt x="21" y="33"/>
                    <a:pt x="21" y="33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6"/>
                    <a:pt x="23" y="36"/>
                    <a:pt x="23" y="36"/>
                  </a:cubicBezTo>
                  <a:cubicBezTo>
                    <a:pt x="24" y="37"/>
                    <a:pt x="24" y="37"/>
                    <a:pt x="24" y="37"/>
                  </a:cubicBezTo>
                  <a:cubicBezTo>
                    <a:pt x="23" y="38"/>
                    <a:pt x="23" y="38"/>
                    <a:pt x="23" y="38"/>
                  </a:cubicBezTo>
                  <a:cubicBezTo>
                    <a:pt x="23" y="39"/>
                    <a:pt x="23" y="39"/>
                    <a:pt x="23" y="39"/>
                  </a:cubicBezTo>
                  <a:cubicBezTo>
                    <a:pt x="25" y="39"/>
                    <a:pt x="25" y="39"/>
                    <a:pt x="25" y="39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7" y="40"/>
                    <a:pt x="27" y="40"/>
                    <a:pt x="27" y="4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31" y="41"/>
                    <a:pt x="31" y="41"/>
                    <a:pt x="31" y="41"/>
                  </a:cubicBezTo>
                  <a:cubicBezTo>
                    <a:pt x="32" y="42"/>
                    <a:pt x="32" y="42"/>
                    <a:pt x="32" y="42"/>
                  </a:cubicBezTo>
                  <a:cubicBezTo>
                    <a:pt x="33" y="46"/>
                    <a:pt x="33" y="46"/>
                    <a:pt x="33" y="46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4" y="49"/>
                    <a:pt x="34" y="49"/>
                    <a:pt x="34" y="49"/>
                  </a:cubicBezTo>
                  <a:cubicBezTo>
                    <a:pt x="34" y="51"/>
                    <a:pt x="34" y="51"/>
                    <a:pt x="34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2" y="54"/>
                    <a:pt x="32" y="54"/>
                    <a:pt x="32" y="54"/>
                  </a:cubicBezTo>
                  <a:cubicBezTo>
                    <a:pt x="32" y="55"/>
                    <a:pt x="32" y="55"/>
                    <a:pt x="32" y="55"/>
                  </a:cubicBezTo>
                  <a:cubicBezTo>
                    <a:pt x="31" y="55"/>
                    <a:pt x="31" y="55"/>
                    <a:pt x="31" y="55"/>
                  </a:cubicBezTo>
                  <a:cubicBezTo>
                    <a:pt x="31" y="56"/>
                    <a:pt x="31" y="56"/>
                    <a:pt x="31" y="56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0" y="58"/>
                    <a:pt x="30" y="58"/>
                    <a:pt x="30" y="5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7" y="62"/>
                    <a:pt x="27" y="62"/>
                    <a:pt x="27" y="62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5" y="63"/>
                    <a:pt x="25" y="63"/>
                  </a:cubicBezTo>
                  <a:cubicBezTo>
                    <a:pt x="24" y="63"/>
                    <a:pt x="24" y="63"/>
                    <a:pt x="24" y="63"/>
                  </a:cubicBezTo>
                  <a:cubicBezTo>
                    <a:pt x="22" y="63"/>
                    <a:pt x="22" y="63"/>
                    <a:pt x="22" y="63"/>
                  </a:cubicBezTo>
                  <a:cubicBezTo>
                    <a:pt x="21" y="63"/>
                    <a:pt x="21" y="63"/>
                    <a:pt x="21" y="63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8" y="65"/>
                    <a:pt x="18" y="65"/>
                    <a:pt x="18" y="65"/>
                  </a:cubicBezTo>
                  <a:cubicBezTo>
                    <a:pt x="17" y="66"/>
                    <a:pt x="17" y="66"/>
                    <a:pt x="17" y="66"/>
                  </a:cubicBezTo>
                  <a:cubicBezTo>
                    <a:pt x="17" y="67"/>
                    <a:pt x="17" y="67"/>
                    <a:pt x="17" y="67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5" y="70"/>
                    <a:pt x="15" y="70"/>
                    <a:pt x="15" y="70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4" y="71"/>
                    <a:pt x="14" y="71"/>
                    <a:pt x="14" y="71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2" y="71"/>
                    <a:pt x="12" y="71"/>
                    <a:pt x="12" y="7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73"/>
                    <a:pt x="11" y="73"/>
                    <a:pt x="11" y="73"/>
                  </a:cubicBezTo>
                  <a:cubicBezTo>
                    <a:pt x="12" y="73"/>
                    <a:pt x="12" y="73"/>
                    <a:pt x="12" y="73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13" y="74"/>
                    <a:pt x="13" y="74"/>
                    <a:pt x="13" y="74"/>
                  </a:cubicBezTo>
                  <a:cubicBezTo>
                    <a:pt x="12" y="74"/>
                    <a:pt x="12" y="74"/>
                    <a:pt x="12" y="74"/>
                  </a:cubicBezTo>
                  <a:cubicBezTo>
                    <a:pt x="9" y="73"/>
                    <a:pt x="9" y="73"/>
                    <a:pt x="9" y="73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8" y="72"/>
                    <a:pt x="8" y="72"/>
                    <a:pt x="8" y="72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5" y="71"/>
                    <a:pt x="5" y="71"/>
                    <a:pt x="5" y="71"/>
                  </a:cubicBezTo>
                  <a:cubicBezTo>
                    <a:pt x="4" y="71"/>
                    <a:pt x="4" y="71"/>
                    <a:pt x="4" y="71"/>
                  </a:cubicBezTo>
                  <a:cubicBezTo>
                    <a:pt x="3" y="71"/>
                    <a:pt x="3" y="71"/>
                    <a:pt x="3" y="71"/>
                  </a:cubicBezTo>
                  <a:cubicBezTo>
                    <a:pt x="2" y="70"/>
                    <a:pt x="2" y="70"/>
                    <a:pt x="2" y="70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2" y="73"/>
                    <a:pt x="2" y="73"/>
                    <a:pt x="2" y="73"/>
                  </a:cubicBezTo>
                  <a:cubicBezTo>
                    <a:pt x="3" y="74"/>
                    <a:pt x="3" y="74"/>
                    <a:pt x="3" y="74"/>
                  </a:cubicBezTo>
                  <a:cubicBezTo>
                    <a:pt x="3" y="75"/>
                    <a:pt x="3" y="75"/>
                    <a:pt x="3" y="75"/>
                  </a:cubicBezTo>
                  <a:cubicBezTo>
                    <a:pt x="4" y="77"/>
                    <a:pt x="4" y="77"/>
                    <a:pt x="4" y="77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8"/>
                    <a:pt x="4" y="78"/>
                    <a:pt x="4" y="78"/>
                  </a:cubicBezTo>
                  <a:cubicBezTo>
                    <a:pt x="4" y="79"/>
                    <a:pt x="4" y="79"/>
                    <a:pt x="4" y="79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7" y="81"/>
                    <a:pt x="7" y="81"/>
                    <a:pt x="7" y="81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8" y="83"/>
                    <a:pt x="8" y="83"/>
                    <a:pt x="8" y="83"/>
                  </a:cubicBezTo>
                  <a:cubicBezTo>
                    <a:pt x="8" y="84"/>
                    <a:pt x="8" y="84"/>
                    <a:pt x="8" y="84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7" y="86"/>
                    <a:pt x="7" y="86"/>
                    <a:pt x="7" y="86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8" y="88"/>
                    <a:pt x="8" y="88"/>
                    <a:pt x="8" y="88"/>
                  </a:cubicBezTo>
                  <a:cubicBezTo>
                    <a:pt x="9" y="89"/>
                    <a:pt x="9" y="89"/>
                    <a:pt x="9" y="89"/>
                  </a:cubicBezTo>
                  <a:cubicBezTo>
                    <a:pt x="9" y="90"/>
                    <a:pt x="9" y="90"/>
                    <a:pt x="9" y="90"/>
                  </a:cubicBezTo>
                  <a:cubicBezTo>
                    <a:pt x="10" y="91"/>
                    <a:pt x="10" y="91"/>
                    <a:pt x="10" y="91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5" y="93"/>
                    <a:pt x="15" y="93"/>
                    <a:pt x="15" y="93"/>
                  </a:cubicBezTo>
                  <a:cubicBezTo>
                    <a:pt x="16" y="94"/>
                    <a:pt x="16" y="94"/>
                    <a:pt x="16" y="94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6" y="95"/>
                    <a:pt x="16" y="95"/>
                    <a:pt x="16" y="95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9" y="97"/>
                    <a:pt x="19" y="97"/>
                    <a:pt x="19" y="97"/>
                  </a:cubicBezTo>
                  <a:cubicBezTo>
                    <a:pt x="20" y="98"/>
                    <a:pt x="20" y="98"/>
                    <a:pt x="20" y="98"/>
                  </a:cubicBezTo>
                  <a:cubicBezTo>
                    <a:pt x="21" y="98"/>
                    <a:pt x="21" y="98"/>
                    <a:pt x="21" y="98"/>
                  </a:cubicBezTo>
                  <a:cubicBezTo>
                    <a:pt x="22" y="98"/>
                    <a:pt x="22" y="98"/>
                    <a:pt x="22" y="98"/>
                  </a:cubicBezTo>
                  <a:cubicBezTo>
                    <a:pt x="23" y="98"/>
                    <a:pt x="23" y="98"/>
                    <a:pt x="23" y="98"/>
                  </a:cubicBezTo>
                  <a:cubicBezTo>
                    <a:pt x="24" y="98"/>
                    <a:pt x="24" y="98"/>
                    <a:pt x="24" y="98"/>
                  </a:cubicBezTo>
                  <a:cubicBezTo>
                    <a:pt x="25" y="99"/>
                    <a:pt x="25" y="99"/>
                    <a:pt x="25" y="99"/>
                  </a:cubicBezTo>
                  <a:cubicBezTo>
                    <a:pt x="26" y="99"/>
                    <a:pt x="26" y="99"/>
                    <a:pt x="26" y="99"/>
                  </a:cubicBezTo>
                  <a:cubicBezTo>
                    <a:pt x="27" y="99"/>
                    <a:pt x="27" y="99"/>
                    <a:pt x="27" y="99"/>
                  </a:cubicBezTo>
                  <a:cubicBezTo>
                    <a:pt x="28" y="99"/>
                    <a:pt x="28" y="99"/>
                    <a:pt x="28" y="99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1" y="99"/>
                    <a:pt x="31" y="99"/>
                    <a:pt x="31" y="99"/>
                  </a:cubicBezTo>
                  <a:cubicBezTo>
                    <a:pt x="32" y="99"/>
                    <a:pt x="32" y="99"/>
                    <a:pt x="32" y="99"/>
                  </a:cubicBezTo>
                  <a:cubicBezTo>
                    <a:pt x="33" y="98"/>
                    <a:pt x="33" y="98"/>
                    <a:pt x="33" y="98"/>
                  </a:cubicBezTo>
                  <a:cubicBezTo>
                    <a:pt x="34" y="99"/>
                    <a:pt x="34" y="99"/>
                    <a:pt x="34" y="99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36" y="99"/>
                    <a:pt x="36" y="99"/>
                    <a:pt x="36" y="99"/>
                  </a:cubicBezTo>
                  <a:cubicBezTo>
                    <a:pt x="38" y="99"/>
                    <a:pt x="38" y="99"/>
                    <a:pt x="38" y="99"/>
                  </a:cubicBezTo>
                  <a:cubicBezTo>
                    <a:pt x="39" y="99"/>
                    <a:pt x="39" y="99"/>
                    <a:pt x="39" y="99"/>
                  </a:cubicBezTo>
                  <a:cubicBezTo>
                    <a:pt x="39" y="99"/>
                    <a:pt x="39" y="99"/>
                    <a:pt x="39" y="99"/>
                  </a:cubicBezTo>
                  <a:cubicBezTo>
                    <a:pt x="39" y="98"/>
                    <a:pt x="39" y="98"/>
                    <a:pt x="39" y="98"/>
                  </a:cubicBezTo>
                  <a:cubicBezTo>
                    <a:pt x="40" y="98"/>
                    <a:pt x="40" y="98"/>
                    <a:pt x="40" y="98"/>
                  </a:cubicBezTo>
                  <a:cubicBezTo>
                    <a:pt x="40" y="99"/>
                    <a:pt x="40" y="99"/>
                    <a:pt x="40" y="99"/>
                  </a:cubicBezTo>
                  <a:cubicBezTo>
                    <a:pt x="42" y="100"/>
                    <a:pt x="42" y="100"/>
                    <a:pt x="42" y="100"/>
                  </a:cubicBezTo>
                  <a:cubicBezTo>
                    <a:pt x="43" y="100"/>
                    <a:pt x="43" y="100"/>
                    <a:pt x="43" y="100"/>
                  </a:cubicBezTo>
                  <a:cubicBezTo>
                    <a:pt x="47" y="98"/>
                    <a:pt x="47" y="98"/>
                    <a:pt x="47" y="98"/>
                  </a:cubicBezTo>
                  <a:cubicBezTo>
                    <a:pt x="47" y="97"/>
                    <a:pt x="47" y="97"/>
                    <a:pt x="47" y="97"/>
                  </a:cubicBezTo>
                  <a:cubicBezTo>
                    <a:pt x="48" y="97"/>
                    <a:pt x="48" y="97"/>
                    <a:pt x="48" y="97"/>
                  </a:cubicBezTo>
                  <a:cubicBezTo>
                    <a:pt x="49" y="97"/>
                    <a:pt x="49" y="97"/>
                    <a:pt x="49" y="97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1" y="96"/>
                    <a:pt x="51" y="96"/>
                    <a:pt x="51" y="96"/>
                  </a:cubicBezTo>
                  <a:cubicBezTo>
                    <a:pt x="52" y="96"/>
                    <a:pt x="52" y="96"/>
                    <a:pt x="52" y="96"/>
                  </a:cubicBezTo>
                  <a:cubicBezTo>
                    <a:pt x="54" y="96"/>
                    <a:pt x="54" y="96"/>
                    <a:pt x="54" y="96"/>
                  </a:cubicBezTo>
                  <a:cubicBezTo>
                    <a:pt x="55" y="95"/>
                    <a:pt x="55" y="95"/>
                    <a:pt x="55" y="95"/>
                  </a:cubicBezTo>
                  <a:cubicBezTo>
                    <a:pt x="56" y="95"/>
                    <a:pt x="56" y="95"/>
                    <a:pt x="56" y="95"/>
                  </a:cubicBezTo>
                  <a:cubicBezTo>
                    <a:pt x="56" y="95"/>
                    <a:pt x="56" y="95"/>
                    <a:pt x="56" y="95"/>
                  </a:cubicBezTo>
                  <a:cubicBezTo>
                    <a:pt x="56" y="95"/>
                    <a:pt x="56" y="95"/>
                    <a:pt x="56" y="95"/>
                  </a:cubicBezTo>
                  <a:cubicBezTo>
                    <a:pt x="58" y="95"/>
                    <a:pt x="58" y="95"/>
                    <a:pt x="58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0" y="95"/>
                    <a:pt x="60" y="95"/>
                    <a:pt x="60" y="95"/>
                  </a:cubicBezTo>
                  <a:cubicBezTo>
                    <a:pt x="61" y="96"/>
                    <a:pt x="61" y="96"/>
                    <a:pt x="61" y="96"/>
                  </a:cubicBezTo>
                  <a:cubicBezTo>
                    <a:pt x="65" y="98"/>
                    <a:pt x="65" y="98"/>
                    <a:pt x="65" y="98"/>
                  </a:cubicBezTo>
                  <a:cubicBezTo>
                    <a:pt x="66" y="98"/>
                    <a:pt x="66" y="98"/>
                    <a:pt x="66" y="98"/>
                  </a:cubicBezTo>
                  <a:cubicBezTo>
                    <a:pt x="69" y="98"/>
                    <a:pt x="69" y="98"/>
                    <a:pt x="69" y="98"/>
                  </a:cubicBezTo>
                  <a:cubicBezTo>
                    <a:pt x="70" y="98"/>
                    <a:pt x="70" y="98"/>
                    <a:pt x="70" y="98"/>
                  </a:cubicBezTo>
                  <a:cubicBezTo>
                    <a:pt x="71" y="98"/>
                    <a:pt x="71" y="98"/>
                    <a:pt x="71" y="98"/>
                  </a:cubicBezTo>
                  <a:cubicBezTo>
                    <a:pt x="72" y="98"/>
                    <a:pt x="72" y="98"/>
                    <a:pt x="72" y="98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4" y="99"/>
                    <a:pt x="74" y="99"/>
                    <a:pt x="74" y="99"/>
                  </a:cubicBezTo>
                  <a:cubicBezTo>
                    <a:pt x="74" y="100"/>
                    <a:pt x="74" y="100"/>
                    <a:pt x="74" y="100"/>
                  </a:cubicBezTo>
                  <a:cubicBezTo>
                    <a:pt x="75" y="101"/>
                    <a:pt x="75" y="101"/>
                    <a:pt x="75" y="101"/>
                  </a:cubicBezTo>
                  <a:cubicBezTo>
                    <a:pt x="76" y="101"/>
                    <a:pt x="76" y="101"/>
                    <a:pt x="76" y="101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77" y="101"/>
                    <a:pt x="77" y="101"/>
                    <a:pt x="77" y="101"/>
                  </a:cubicBezTo>
                  <a:cubicBezTo>
                    <a:pt x="78" y="102"/>
                    <a:pt x="78" y="102"/>
                    <a:pt x="78" y="102"/>
                  </a:cubicBezTo>
                  <a:cubicBezTo>
                    <a:pt x="79" y="103"/>
                    <a:pt x="79" y="103"/>
                    <a:pt x="79" y="103"/>
                  </a:cubicBezTo>
                  <a:cubicBezTo>
                    <a:pt x="80" y="103"/>
                    <a:pt x="80" y="103"/>
                    <a:pt x="80" y="103"/>
                  </a:cubicBezTo>
                  <a:cubicBezTo>
                    <a:pt x="82" y="103"/>
                    <a:pt x="82" y="103"/>
                    <a:pt x="82" y="103"/>
                  </a:cubicBezTo>
                  <a:cubicBezTo>
                    <a:pt x="84" y="104"/>
                    <a:pt x="84" y="104"/>
                    <a:pt x="84" y="104"/>
                  </a:cubicBezTo>
                  <a:cubicBezTo>
                    <a:pt x="84" y="105"/>
                    <a:pt x="84" y="105"/>
                    <a:pt x="84" y="105"/>
                  </a:cubicBezTo>
                  <a:cubicBezTo>
                    <a:pt x="84" y="106"/>
                    <a:pt x="84" y="106"/>
                    <a:pt x="84" y="106"/>
                  </a:cubicBezTo>
                  <a:cubicBezTo>
                    <a:pt x="84" y="108"/>
                    <a:pt x="84" y="108"/>
                    <a:pt x="84" y="108"/>
                  </a:cubicBezTo>
                  <a:cubicBezTo>
                    <a:pt x="85" y="109"/>
                    <a:pt x="85" y="109"/>
                    <a:pt x="85" y="109"/>
                  </a:cubicBezTo>
                  <a:cubicBezTo>
                    <a:pt x="86" y="109"/>
                    <a:pt x="86" y="109"/>
                    <a:pt x="86" y="109"/>
                  </a:cubicBezTo>
                  <a:cubicBezTo>
                    <a:pt x="87" y="109"/>
                    <a:pt x="87" y="109"/>
                    <a:pt x="87" y="109"/>
                  </a:cubicBezTo>
                  <a:cubicBezTo>
                    <a:pt x="88" y="109"/>
                    <a:pt x="88" y="109"/>
                    <a:pt x="88" y="109"/>
                  </a:cubicBezTo>
                  <a:cubicBezTo>
                    <a:pt x="90" y="108"/>
                    <a:pt x="90" y="108"/>
                    <a:pt x="90" y="108"/>
                  </a:cubicBezTo>
                  <a:cubicBezTo>
                    <a:pt x="91" y="107"/>
                    <a:pt x="91" y="107"/>
                    <a:pt x="91" y="107"/>
                  </a:cubicBezTo>
                  <a:cubicBezTo>
                    <a:pt x="92" y="107"/>
                    <a:pt x="92" y="107"/>
                    <a:pt x="92" y="107"/>
                  </a:cubicBezTo>
                  <a:cubicBezTo>
                    <a:pt x="93" y="106"/>
                    <a:pt x="93" y="106"/>
                    <a:pt x="93" y="106"/>
                  </a:cubicBezTo>
                  <a:cubicBezTo>
                    <a:pt x="94" y="106"/>
                    <a:pt x="94" y="106"/>
                    <a:pt x="94" y="106"/>
                  </a:cubicBezTo>
                  <a:cubicBezTo>
                    <a:pt x="95" y="106"/>
                    <a:pt x="95" y="106"/>
                    <a:pt x="95" y="106"/>
                  </a:cubicBezTo>
                  <a:cubicBezTo>
                    <a:pt x="96" y="107"/>
                    <a:pt x="96" y="107"/>
                    <a:pt x="96" y="107"/>
                  </a:cubicBezTo>
                  <a:cubicBezTo>
                    <a:pt x="97" y="107"/>
                    <a:pt x="97" y="107"/>
                    <a:pt x="97" y="107"/>
                  </a:cubicBezTo>
                  <a:cubicBezTo>
                    <a:pt x="98" y="107"/>
                    <a:pt x="98" y="107"/>
                    <a:pt x="98" y="107"/>
                  </a:cubicBezTo>
                  <a:cubicBezTo>
                    <a:pt x="99" y="107"/>
                    <a:pt x="99" y="107"/>
                    <a:pt x="99" y="107"/>
                  </a:cubicBezTo>
                  <a:cubicBezTo>
                    <a:pt x="100" y="107"/>
                    <a:pt x="100" y="107"/>
                    <a:pt x="100" y="107"/>
                  </a:cubicBezTo>
                  <a:cubicBezTo>
                    <a:pt x="101" y="106"/>
                    <a:pt x="101" y="106"/>
                    <a:pt x="101" y="106"/>
                  </a:cubicBezTo>
                  <a:cubicBezTo>
                    <a:pt x="102" y="106"/>
                    <a:pt x="102" y="106"/>
                    <a:pt x="102" y="106"/>
                  </a:cubicBezTo>
                  <a:cubicBezTo>
                    <a:pt x="102" y="107"/>
                    <a:pt x="102" y="107"/>
                    <a:pt x="102" y="107"/>
                  </a:cubicBezTo>
                  <a:cubicBezTo>
                    <a:pt x="102" y="108"/>
                    <a:pt x="102" y="108"/>
                    <a:pt x="102" y="108"/>
                  </a:cubicBezTo>
                  <a:cubicBezTo>
                    <a:pt x="104" y="107"/>
                    <a:pt x="104" y="107"/>
                    <a:pt x="104" y="107"/>
                  </a:cubicBezTo>
                  <a:cubicBezTo>
                    <a:pt x="104" y="108"/>
                    <a:pt x="104" y="108"/>
                    <a:pt x="104" y="108"/>
                  </a:cubicBezTo>
                  <a:cubicBezTo>
                    <a:pt x="105" y="109"/>
                    <a:pt x="105" y="109"/>
                    <a:pt x="105" y="109"/>
                  </a:cubicBezTo>
                  <a:cubicBezTo>
                    <a:pt x="105" y="110"/>
                    <a:pt x="105" y="110"/>
                    <a:pt x="105" y="110"/>
                  </a:cubicBezTo>
                  <a:cubicBezTo>
                    <a:pt x="106" y="109"/>
                    <a:pt x="106" y="109"/>
                    <a:pt x="106" y="109"/>
                  </a:cubicBezTo>
                  <a:cubicBezTo>
                    <a:pt x="106" y="108"/>
                    <a:pt x="106" y="108"/>
                    <a:pt x="106" y="108"/>
                  </a:cubicBezTo>
                  <a:cubicBezTo>
                    <a:pt x="106" y="108"/>
                    <a:pt x="106" y="108"/>
                    <a:pt x="106" y="108"/>
                  </a:cubicBezTo>
                  <a:cubicBezTo>
                    <a:pt x="108" y="108"/>
                    <a:pt x="108" y="108"/>
                    <a:pt x="108" y="108"/>
                  </a:cubicBezTo>
                  <a:cubicBezTo>
                    <a:pt x="108" y="108"/>
                    <a:pt x="108" y="108"/>
                    <a:pt x="108" y="108"/>
                  </a:cubicBezTo>
                  <a:cubicBezTo>
                    <a:pt x="109" y="108"/>
                    <a:pt x="109" y="108"/>
                    <a:pt x="109" y="108"/>
                  </a:cubicBezTo>
                  <a:cubicBezTo>
                    <a:pt x="110" y="109"/>
                    <a:pt x="110" y="109"/>
                    <a:pt x="110" y="109"/>
                  </a:cubicBezTo>
                  <a:cubicBezTo>
                    <a:pt x="110" y="109"/>
                    <a:pt x="110" y="109"/>
                    <a:pt x="110" y="109"/>
                  </a:cubicBezTo>
                  <a:cubicBezTo>
                    <a:pt x="111" y="109"/>
                    <a:pt x="111" y="109"/>
                    <a:pt x="111" y="109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0" y="107"/>
                    <a:pt x="110" y="107"/>
                    <a:pt x="110" y="107"/>
                  </a:cubicBezTo>
                  <a:cubicBezTo>
                    <a:pt x="111" y="106"/>
                    <a:pt x="111" y="106"/>
                    <a:pt x="111" y="106"/>
                  </a:cubicBezTo>
                  <a:cubicBezTo>
                    <a:pt x="111" y="106"/>
                    <a:pt x="111" y="106"/>
                    <a:pt x="111" y="106"/>
                  </a:cubicBezTo>
                  <a:cubicBezTo>
                    <a:pt x="112" y="105"/>
                    <a:pt x="112" y="105"/>
                    <a:pt x="112" y="105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3" y="105"/>
                    <a:pt x="113" y="105"/>
                    <a:pt x="113" y="105"/>
                  </a:cubicBezTo>
                  <a:cubicBezTo>
                    <a:pt x="116" y="105"/>
                    <a:pt x="116" y="105"/>
                    <a:pt x="116" y="105"/>
                  </a:cubicBezTo>
                  <a:cubicBezTo>
                    <a:pt x="117" y="106"/>
                    <a:pt x="117" y="106"/>
                    <a:pt x="117" y="106"/>
                  </a:cubicBezTo>
                  <a:cubicBezTo>
                    <a:pt x="119" y="106"/>
                    <a:pt x="119" y="106"/>
                    <a:pt x="119" y="106"/>
                  </a:cubicBezTo>
                  <a:cubicBezTo>
                    <a:pt x="120" y="106"/>
                    <a:pt x="120" y="106"/>
                    <a:pt x="120" y="106"/>
                  </a:cubicBezTo>
                  <a:cubicBezTo>
                    <a:pt x="121" y="107"/>
                    <a:pt x="121" y="107"/>
                    <a:pt x="121" y="107"/>
                  </a:cubicBezTo>
                  <a:cubicBezTo>
                    <a:pt x="123" y="108"/>
                    <a:pt x="123" y="108"/>
                    <a:pt x="123" y="108"/>
                  </a:cubicBezTo>
                  <a:cubicBezTo>
                    <a:pt x="124" y="109"/>
                    <a:pt x="124" y="109"/>
                    <a:pt x="124" y="109"/>
                  </a:cubicBezTo>
                  <a:cubicBezTo>
                    <a:pt x="125" y="110"/>
                    <a:pt x="125" y="110"/>
                    <a:pt x="125" y="110"/>
                  </a:cubicBezTo>
                  <a:cubicBezTo>
                    <a:pt x="125" y="111"/>
                    <a:pt x="125" y="111"/>
                    <a:pt x="125" y="111"/>
                  </a:cubicBezTo>
                  <a:cubicBezTo>
                    <a:pt x="126" y="112"/>
                    <a:pt x="126" y="112"/>
                    <a:pt x="126" y="112"/>
                  </a:cubicBezTo>
                  <a:cubicBezTo>
                    <a:pt x="126" y="112"/>
                    <a:pt x="126" y="112"/>
                    <a:pt x="126" y="112"/>
                  </a:cubicBezTo>
                  <a:cubicBezTo>
                    <a:pt x="127" y="113"/>
                    <a:pt x="127" y="113"/>
                    <a:pt x="127" y="113"/>
                  </a:cubicBezTo>
                  <a:cubicBezTo>
                    <a:pt x="127" y="115"/>
                    <a:pt x="127" y="115"/>
                    <a:pt x="127" y="115"/>
                  </a:cubicBezTo>
                  <a:cubicBezTo>
                    <a:pt x="128" y="116"/>
                    <a:pt x="128" y="116"/>
                    <a:pt x="128" y="116"/>
                  </a:cubicBezTo>
                  <a:cubicBezTo>
                    <a:pt x="128" y="117"/>
                    <a:pt x="128" y="117"/>
                    <a:pt x="128" y="117"/>
                  </a:cubicBezTo>
                  <a:cubicBezTo>
                    <a:pt x="128" y="119"/>
                    <a:pt x="128" y="119"/>
                    <a:pt x="128" y="119"/>
                  </a:cubicBezTo>
                  <a:cubicBezTo>
                    <a:pt x="128" y="119"/>
                    <a:pt x="128" y="119"/>
                    <a:pt x="128" y="119"/>
                  </a:cubicBezTo>
                  <a:cubicBezTo>
                    <a:pt x="127" y="120"/>
                    <a:pt x="127" y="120"/>
                    <a:pt x="127" y="120"/>
                  </a:cubicBezTo>
                  <a:cubicBezTo>
                    <a:pt x="127" y="121"/>
                    <a:pt x="127" y="121"/>
                    <a:pt x="127" y="121"/>
                  </a:cubicBezTo>
                  <a:cubicBezTo>
                    <a:pt x="128" y="121"/>
                    <a:pt x="128" y="121"/>
                    <a:pt x="128" y="121"/>
                  </a:cubicBezTo>
                  <a:cubicBezTo>
                    <a:pt x="129" y="122"/>
                    <a:pt x="129" y="122"/>
                    <a:pt x="129" y="122"/>
                  </a:cubicBezTo>
                  <a:cubicBezTo>
                    <a:pt x="130" y="122"/>
                    <a:pt x="130" y="122"/>
                    <a:pt x="130" y="122"/>
                  </a:cubicBezTo>
                  <a:cubicBezTo>
                    <a:pt x="130" y="123"/>
                    <a:pt x="130" y="123"/>
                    <a:pt x="130" y="123"/>
                  </a:cubicBezTo>
                  <a:cubicBezTo>
                    <a:pt x="131" y="123"/>
                    <a:pt x="131" y="123"/>
                    <a:pt x="131" y="123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34" y="126"/>
                    <a:pt x="134" y="126"/>
                    <a:pt x="134" y="126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7" y="125"/>
                    <a:pt x="137" y="125"/>
                    <a:pt x="137" y="125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0" y="126"/>
                    <a:pt x="140" y="126"/>
                    <a:pt x="140" y="126"/>
                  </a:cubicBezTo>
                  <a:cubicBezTo>
                    <a:pt x="140" y="126"/>
                    <a:pt x="140" y="126"/>
                    <a:pt x="140" y="126"/>
                  </a:cubicBezTo>
                  <a:cubicBezTo>
                    <a:pt x="141" y="126"/>
                    <a:pt x="141" y="126"/>
                    <a:pt x="141" y="126"/>
                  </a:cubicBezTo>
                  <a:cubicBezTo>
                    <a:pt x="141" y="127"/>
                    <a:pt x="141" y="127"/>
                    <a:pt x="141" y="127"/>
                  </a:cubicBezTo>
                  <a:cubicBezTo>
                    <a:pt x="141" y="128"/>
                    <a:pt x="141" y="128"/>
                    <a:pt x="141" y="128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2" y="129"/>
                    <a:pt x="142" y="129"/>
                    <a:pt x="142" y="129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3" y="130"/>
                    <a:pt x="143" y="130"/>
                    <a:pt x="143" y="130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45" y="132"/>
                    <a:pt x="145" y="132"/>
                    <a:pt x="145" y="132"/>
                  </a:cubicBezTo>
                  <a:cubicBezTo>
                    <a:pt x="146" y="132"/>
                    <a:pt x="146" y="132"/>
                    <a:pt x="146" y="132"/>
                  </a:cubicBezTo>
                  <a:cubicBezTo>
                    <a:pt x="146" y="132"/>
                    <a:pt x="146" y="132"/>
                    <a:pt x="146" y="132"/>
                  </a:cubicBezTo>
                  <a:cubicBezTo>
                    <a:pt x="147" y="131"/>
                    <a:pt x="147" y="131"/>
                    <a:pt x="147" y="131"/>
                  </a:cubicBezTo>
                  <a:cubicBezTo>
                    <a:pt x="148" y="131"/>
                    <a:pt x="148" y="131"/>
                    <a:pt x="148" y="131"/>
                  </a:cubicBezTo>
                  <a:cubicBezTo>
                    <a:pt x="149" y="131"/>
                    <a:pt x="149" y="131"/>
                    <a:pt x="149" y="131"/>
                  </a:cubicBezTo>
                  <a:cubicBezTo>
                    <a:pt x="152" y="133"/>
                    <a:pt x="152" y="133"/>
                    <a:pt x="152" y="133"/>
                  </a:cubicBezTo>
                  <a:cubicBezTo>
                    <a:pt x="154" y="134"/>
                    <a:pt x="154" y="134"/>
                    <a:pt x="154" y="134"/>
                  </a:cubicBezTo>
                  <a:cubicBezTo>
                    <a:pt x="155" y="134"/>
                    <a:pt x="155" y="134"/>
                    <a:pt x="155" y="134"/>
                  </a:cubicBezTo>
                  <a:cubicBezTo>
                    <a:pt x="157" y="135"/>
                    <a:pt x="157" y="135"/>
                    <a:pt x="157" y="135"/>
                  </a:cubicBezTo>
                  <a:cubicBezTo>
                    <a:pt x="158" y="135"/>
                    <a:pt x="158" y="135"/>
                    <a:pt x="158" y="135"/>
                  </a:cubicBezTo>
                  <a:cubicBezTo>
                    <a:pt x="159" y="134"/>
                    <a:pt x="159" y="134"/>
                    <a:pt x="159" y="134"/>
                  </a:cubicBezTo>
                  <a:cubicBezTo>
                    <a:pt x="159" y="132"/>
                    <a:pt x="159" y="132"/>
                    <a:pt x="159" y="132"/>
                  </a:cubicBezTo>
                  <a:cubicBezTo>
                    <a:pt x="158" y="131"/>
                    <a:pt x="158" y="131"/>
                    <a:pt x="158" y="131"/>
                  </a:cubicBezTo>
                  <a:cubicBezTo>
                    <a:pt x="159" y="130"/>
                    <a:pt x="159" y="130"/>
                    <a:pt x="159" y="130"/>
                  </a:cubicBezTo>
                  <a:cubicBezTo>
                    <a:pt x="161" y="128"/>
                    <a:pt x="161" y="128"/>
                    <a:pt x="161" y="128"/>
                  </a:cubicBezTo>
                  <a:cubicBezTo>
                    <a:pt x="162" y="128"/>
                    <a:pt x="162" y="128"/>
                    <a:pt x="162" y="128"/>
                  </a:cubicBezTo>
                  <a:cubicBezTo>
                    <a:pt x="163" y="126"/>
                    <a:pt x="163" y="126"/>
                    <a:pt x="163" y="126"/>
                  </a:cubicBezTo>
                  <a:cubicBezTo>
                    <a:pt x="164" y="126"/>
                    <a:pt x="164" y="126"/>
                    <a:pt x="164" y="126"/>
                  </a:cubicBezTo>
                  <a:cubicBezTo>
                    <a:pt x="164" y="125"/>
                    <a:pt x="164" y="125"/>
                    <a:pt x="164" y="125"/>
                  </a:cubicBezTo>
                  <a:cubicBezTo>
                    <a:pt x="166" y="125"/>
                    <a:pt x="166" y="125"/>
                    <a:pt x="166" y="125"/>
                  </a:cubicBezTo>
                  <a:cubicBezTo>
                    <a:pt x="167" y="125"/>
                    <a:pt x="167" y="125"/>
                    <a:pt x="167" y="125"/>
                  </a:cubicBezTo>
                  <a:cubicBezTo>
                    <a:pt x="167" y="125"/>
                    <a:pt x="167" y="125"/>
                    <a:pt x="167" y="125"/>
                  </a:cubicBezTo>
                  <a:cubicBezTo>
                    <a:pt x="168" y="125"/>
                    <a:pt x="168" y="125"/>
                    <a:pt x="168" y="125"/>
                  </a:cubicBezTo>
                  <a:cubicBezTo>
                    <a:pt x="169" y="125"/>
                    <a:pt x="169" y="125"/>
                    <a:pt x="169" y="125"/>
                  </a:cubicBezTo>
                  <a:cubicBezTo>
                    <a:pt x="170" y="125"/>
                    <a:pt x="170" y="125"/>
                    <a:pt x="170" y="125"/>
                  </a:cubicBezTo>
                  <a:cubicBezTo>
                    <a:pt x="170" y="125"/>
                    <a:pt x="170" y="125"/>
                    <a:pt x="170" y="125"/>
                  </a:cubicBezTo>
                  <a:cubicBezTo>
                    <a:pt x="170" y="124"/>
                    <a:pt x="170" y="124"/>
                    <a:pt x="170" y="124"/>
                  </a:cubicBezTo>
                  <a:cubicBezTo>
                    <a:pt x="170" y="124"/>
                    <a:pt x="170" y="124"/>
                    <a:pt x="170" y="124"/>
                  </a:cubicBezTo>
                  <a:cubicBezTo>
                    <a:pt x="170" y="123"/>
                    <a:pt x="170" y="123"/>
                    <a:pt x="170" y="123"/>
                  </a:cubicBezTo>
                  <a:cubicBezTo>
                    <a:pt x="171" y="123"/>
                    <a:pt x="171" y="123"/>
                    <a:pt x="171" y="123"/>
                  </a:cubicBezTo>
                  <a:cubicBezTo>
                    <a:pt x="172" y="123"/>
                    <a:pt x="172" y="123"/>
                    <a:pt x="172" y="123"/>
                  </a:cubicBezTo>
                  <a:cubicBezTo>
                    <a:pt x="174" y="124"/>
                    <a:pt x="174" y="124"/>
                    <a:pt x="174" y="124"/>
                  </a:cubicBezTo>
                  <a:cubicBezTo>
                    <a:pt x="174" y="125"/>
                    <a:pt x="174" y="125"/>
                    <a:pt x="174" y="125"/>
                  </a:cubicBezTo>
                  <a:cubicBezTo>
                    <a:pt x="174" y="126"/>
                    <a:pt x="174" y="126"/>
                    <a:pt x="174" y="126"/>
                  </a:cubicBezTo>
                  <a:cubicBezTo>
                    <a:pt x="176" y="127"/>
                    <a:pt x="176" y="127"/>
                    <a:pt x="176" y="127"/>
                  </a:cubicBezTo>
                  <a:cubicBezTo>
                    <a:pt x="177" y="127"/>
                    <a:pt x="177" y="127"/>
                    <a:pt x="177" y="127"/>
                  </a:cubicBezTo>
                  <a:cubicBezTo>
                    <a:pt x="178" y="127"/>
                    <a:pt x="178" y="127"/>
                    <a:pt x="178" y="127"/>
                  </a:cubicBezTo>
                  <a:cubicBezTo>
                    <a:pt x="178" y="126"/>
                    <a:pt x="178" y="126"/>
                    <a:pt x="178" y="126"/>
                  </a:cubicBezTo>
                  <a:cubicBezTo>
                    <a:pt x="179" y="125"/>
                    <a:pt x="179" y="125"/>
                    <a:pt x="179" y="125"/>
                  </a:cubicBezTo>
                  <a:cubicBezTo>
                    <a:pt x="179" y="125"/>
                    <a:pt x="179" y="125"/>
                    <a:pt x="179" y="125"/>
                  </a:cubicBezTo>
                  <a:cubicBezTo>
                    <a:pt x="179" y="124"/>
                    <a:pt x="179" y="124"/>
                    <a:pt x="179" y="124"/>
                  </a:cubicBezTo>
                  <a:cubicBezTo>
                    <a:pt x="180" y="123"/>
                    <a:pt x="180" y="123"/>
                    <a:pt x="180" y="123"/>
                  </a:cubicBezTo>
                  <a:cubicBezTo>
                    <a:pt x="180" y="122"/>
                    <a:pt x="180" y="122"/>
                    <a:pt x="180" y="122"/>
                  </a:cubicBezTo>
                  <a:cubicBezTo>
                    <a:pt x="179" y="121"/>
                    <a:pt x="179" y="121"/>
                    <a:pt x="179" y="121"/>
                  </a:cubicBezTo>
                  <a:cubicBezTo>
                    <a:pt x="178" y="121"/>
                    <a:pt x="178" y="121"/>
                    <a:pt x="178" y="121"/>
                  </a:cubicBezTo>
                  <a:cubicBezTo>
                    <a:pt x="177" y="121"/>
                    <a:pt x="177" y="121"/>
                    <a:pt x="177" y="121"/>
                  </a:cubicBezTo>
                  <a:cubicBezTo>
                    <a:pt x="176" y="121"/>
                    <a:pt x="176" y="121"/>
                    <a:pt x="176" y="121"/>
                  </a:cubicBezTo>
                  <a:cubicBezTo>
                    <a:pt x="176" y="120"/>
                    <a:pt x="176" y="120"/>
                    <a:pt x="176" y="120"/>
                  </a:cubicBezTo>
                  <a:cubicBezTo>
                    <a:pt x="176" y="118"/>
                    <a:pt x="176" y="118"/>
                    <a:pt x="176" y="118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2" y="116"/>
                    <a:pt x="172" y="116"/>
                    <a:pt x="172" y="116"/>
                  </a:cubicBezTo>
                  <a:cubicBezTo>
                    <a:pt x="171" y="115"/>
                    <a:pt x="171" y="115"/>
                    <a:pt x="171" y="115"/>
                  </a:cubicBezTo>
                  <a:cubicBezTo>
                    <a:pt x="171" y="114"/>
                    <a:pt x="171" y="114"/>
                    <a:pt x="171" y="114"/>
                  </a:cubicBezTo>
                  <a:cubicBezTo>
                    <a:pt x="171" y="114"/>
                    <a:pt x="171" y="114"/>
                    <a:pt x="171" y="114"/>
                  </a:cubicBezTo>
                  <a:cubicBezTo>
                    <a:pt x="170" y="113"/>
                    <a:pt x="170" y="113"/>
                    <a:pt x="170" y="113"/>
                  </a:cubicBezTo>
                  <a:cubicBezTo>
                    <a:pt x="169" y="113"/>
                    <a:pt x="169" y="113"/>
                    <a:pt x="169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68" y="112"/>
                    <a:pt x="168" y="112"/>
                    <a:pt x="168" y="112"/>
                  </a:cubicBezTo>
                  <a:cubicBezTo>
                    <a:pt x="169" y="112"/>
                    <a:pt x="169" y="112"/>
                    <a:pt x="169" y="112"/>
                  </a:cubicBezTo>
                  <a:cubicBezTo>
                    <a:pt x="169" y="111"/>
                    <a:pt x="169" y="111"/>
                    <a:pt x="169" y="111"/>
                  </a:cubicBezTo>
                  <a:cubicBezTo>
                    <a:pt x="169" y="110"/>
                    <a:pt x="169" y="110"/>
                    <a:pt x="169" y="110"/>
                  </a:cubicBezTo>
                  <a:cubicBezTo>
                    <a:pt x="167" y="110"/>
                    <a:pt x="167" y="110"/>
                    <a:pt x="167" y="110"/>
                  </a:cubicBezTo>
                  <a:cubicBezTo>
                    <a:pt x="166" y="110"/>
                    <a:pt x="166" y="110"/>
                    <a:pt x="166" y="110"/>
                  </a:cubicBezTo>
                  <a:cubicBezTo>
                    <a:pt x="161" y="107"/>
                    <a:pt x="161" y="107"/>
                    <a:pt x="161" y="107"/>
                  </a:cubicBezTo>
                  <a:cubicBezTo>
                    <a:pt x="160" y="107"/>
                    <a:pt x="160" y="107"/>
                    <a:pt x="160" y="107"/>
                  </a:cubicBezTo>
                  <a:cubicBezTo>
                    <a:pt x="158" y="107"/>
                    <a:pt x="158" y="107"/>
                    <a:pt x="158" y="107"/>
                  </a:cubicBezTo>
                  <a:cubicBezTo>
                    <a:pt x="157" y="106"/>
                    <a:pt x="157" y="106"/>
                    <a:pt x="157" y="106"/>
                  </a:cubicBezTo>
                  <a:cubicBezTo>
                    <a:pt x="157" y="106"/>
                    <a:pt x="157" y="106"/>
                    <a:pt x="157" y="106"/>
                  </a:cubicBezTo>
                  <a:cubicBezTo>
                    <a:pt x="156" y="107"/>
                    <a:pt x="156" y="107"/>
                    <a:pt x="156" y="107"/>
                  </a:cubicBezTo>
                  <a:cubicBezTo>
                    <a:pt x="155" y="108"/>
                    <a:pt x="155" y="108"/>
                    <a:pt x="155" y="108"/>
                  </a:cubicBezTo>
                  <a:cubicBezTo>
                    <a:pt x="154" y="108"/>
                    <a:pt x="154" y="108"/>
                    <a:pt x="154" y="108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2" y="108"/>
                    <a:pt x="152" y="108"/>
                    <a:pt x="152" y="108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50" y="107"/>
                    <a:pt x="150" y="107"/>
                    <a:pt x="150" y="107"/>
                  </a:cubicBezTo>
                  <a:cubicBezTo>
                    <a:pt x="149" y="106"/>
                    <a:pt x="149" y="106"/>
                    <a:pt x="149" y="106"/>
                  </a:cubicBezTo>
                  <a:cubicBezTo>
                    <a:pt x="149" y="105"/>
                    <a:pt x="149" y="105"/>
                    <a:pt x="149" y="105"/>
                  </a:cubicBezTo>
                  <a:cubicBezTo>
                    <a:pt x="148" y="104"/>
                    <a:pt x="148" y="104"/>
                    <a:pt x="148" y="104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8" y="103"/>
                    <a:pt x="148" y="103"/>
                    <a:pt x="148" y="103"/>
                  </a:cubicBezTo>
                  <a:cubicBezTo>
                    <a:pt x="147" y="102"/>
                    <a:pt x="147" y="102"/>
                    <a:pt x="147" y="102"/>
                  </a:cubicBezTo>
                  <a:cubicBezTo>
                    <a:pt x="147" y="101"/>
                    <a:pt x="147" y="101"/>
                    <a:pt x="147" y="101"/>
                  </a:cubicBezTo>
                  <a:cubicBezTo>
                    <a:pt x="147" y="100"/>
                    <a:pt x="147" y="100"/>
                    <a:pt x="147" y="100"/>
                  </a:cubicBezTo>
                  <a:cubicBezTo>
                    <a:pt x="149" y="99"/>
                    <a:pt x="149" y="99"/>
                    <a:pt x="149" y="99"/>
                  </a:cubicBezTo>
                  <a:cubicBezTo>
                    <a:pt x="150" y="98"/>
                    <a:pt x="150" y="98"/>
                    <a:pt x="150" y="98"/>
                  </a:cubicBezTo>
                  <a:cubicBezTo>
                    <a:pt x="149" y="98"/>
                    <a:pt x="149" y="98"/>
                    <a:pt x="149" y="98"/>
                  </a:cubicBezTo>
                  <a:cubicBezTo>
                    <a:pt x="148" y="98"/>
                    <a:pt x="148" y="98"/>
                    <a:pt x="148" y="98"/>
                  </a:cubicBezTo>
                  <a:cubicBezTo>
                    <a:pt x="145" y="98"/>
                    <a:pt x="145" y="98"/>
                    <a:pt x="145" y="98"/>
                  </a:cubicBezTo>
                  <a:cubicBezTo>
                    <a:pt x="144" y="99"/>
                    <a:pt x="144" y="99"/>
                    <a:pt x="144" y="99"/>
                  </a:cubicBezTo>
                  <a:cubicBezTo>
                    <a:pt x="144" y="99"/>
                    <a:pt x="144" y="99"/>
                    <a:pt x="144" y="99"/>
                  </a:cubicBezTo>
                  <a:cubicBezTo>
                    <a:pt x="143" y="100"/>
                    <a:pt x="143" y="100"/>
                    <a:pt x="143" y="100"/>
                  </a:cubicBezTo>
                  <a:cubicBezTo>
                    <a:pt x="142" y="100"/>
                    <a:pt x="142" y="100"/>
                    <a:pt x="142" y="100"/>
                  </a:cubicBezTo>
                  <a:cubicBezTo>
                    <a:pt x="141" y="99"/>
                    <a:pt x="141" y="99"/>
                    <a:pt x="141" y="99"/>
                  </a:cubicBezTo>
                  <a:cubicBezTo>
                    <a:pt x="141" y="100"/>
                    <a:pt x="141" y="100"/>
                    <a:pt x="141" y="100"/>
                  </a:cubicBezTo>
                  <a:cubicBezTo>
                    <a:pt x="140" y="100"/>
                    <a:pt x="140" y="100"/>
                    <a:pt x="140" y="100"/>
                  </a:cubicBezTo>
                  <a:cubicBezTo>
                    <a:pt x="139" y="100"/>
                    <a:pt x="139" y="100"/>
                    <a:pt x="139" y="100"/>
                  </a:cubicBezTo>
                  <a:cubicBezTo>
                    <a:pt x="138" y="101"/>
                    <a:pt x="138" y="101"/>
                    <a:pt x="138" y="101"/>
                  </a:cubicBezTo>
                  <a:cubicBezTo>
                    <a:pt x="137" y="101"/>
                    <a:pt x="137" y="101"/>
                    <a:pt x="137" y="101"/>
                  </a:cubicBezTo>
                  <a:cubicBezTo>
                    <a:pt x="134" y="100"/>
                    <a:pt x="134" y="100"/>
                    <a:pt x="134" y="100"/>
                  </a:cubicBezTo>
                  <a:cubicBezTo>
                    <a:pt x="134" y="100"/>
                    <a:pt x="134" y="100"/>
                    <a:pt x="134" y="100"/>
                  </a:cubicBezTo>
                  <a:cubicBezTo>
                    <a:pt x="133" y="99"/>
                    <a:pt x="133" y="99"/>
                    <a:pt x="133" y="99"/>
                  </a:cubicBezTo>
                  <a:cubicBezTo>
                    <a:pt x="132" y="99"/>
                    <a:pt x="132" y="99"/>
                    <a:pt x="132" y="99"/>
                  </a:cubicBezTo>
                  <a:cubicBezTo>
                    <a:pt x="131" y="99"/>
                    <a:pt x="131" y="99"/>
                    <a:pt x="131" y="99"/>
                  </a:cubicBezTo>
                  <a:cubicBezTo>
                    <a:pt x="130" y="98"/>
                    <a:pt x="130" y="98"/>
                    <a:pt x="130" y="98"/>
                  </a:cubicBezTo>
                  <a:cubicBezTo>
                    <a:pt x="129" y="98"/>
                    <a:pt x="129" y="98"/>
                    <a:pt x="129" y="98"/>
                  </a:cubicBezTo>
                  <a:cubicBezTo>
                    <a:pt x="128" y="97"/>
                    <a:pt x="128" y="97"/>
                    <a:pt x="128" y="97"/>
                  </a:cubicBezTo>
                  <a:cubicBezTo>
                    <a:pt x="127" y="97"/>
                    <a:pt x="127" y="97"/>
                    <a:pt x="127" y="97"/>
                  </a:cubicBezTo>
                  <a:cubicBezTo>
                    <a:pt x="126" y="96"/>
                    <a:pt x="126" y="96"/>
                    <a:pt x="126" y="96"/>
                  </a:cubicBezTo>
                  <a:cubicBezTo>
                    <a:pt x="125" y="94"/>
                    <a:pt x="125" y="94"/>
                    <a:pt x="125" y="94"/>
                  </a:cubicBezTo>
                  <a:cubicBezTo>
                    <a:pt x="125" y="94"/>
                    <a:pt x="125" y="94"/>
                    <a:pt x="125" y="94"/>
                  </a:cubicBezTo>
                  <a:cubicBezTo>
                    <a:pt x="124" y="92"/>
                    <a:pt x="124" y="92"/>
                    <a:pt x="124" y="92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4" y="91"/>
                    <a:pt x="124" y="91"/>
                    <a:pt x="124" y="91"/>
                  </a:cubicBezTo>
                  <a:cubicBezTo>
                    <a:pt x="123" y="90"/>
                    <a:pt x="123" y="90"/>
                    <a:pt x="123" y="90"/>
                  </a:cubicBezTo>
                  <a:cubicBezTo>
                    <a:pt x="123" y="89"/>
                    <a:pt x="123" y="89"/>
                    <a:pt x="123" y="89"/>
                  </a:cubicBezTo>
                  <a:cubicBezTo>
                    <a:pt x="123" y="88"/>
                    <a:pt x="123" y="88"/>
                    <a:pt x="123" y="88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7"/>
                    <a:pt x="123" y="87"/>
                    <a:pt x="123" y="87"/>
                  </a:cubicBezTo>
                  <a:cubicBezTo>
                    <a:pt x="123" y="85"/>
                    <a:pt x="123" y="85"/>
                    <a:pt x="123" y="85"/>
                  </a:cubicBezTo>
                  <a:cubicBezTo>
                    <a:pt x="123" y="85"/>
                    <a:pt x="123" y="85"/>
                    <a:pt x="123" y="85"/>
                  </a:cubicBezTo>
                  <a:cubicBezTo>
                    <a:pt x="123" y="84"/>
                    <a:pt x="123" y="84"/>
                    <a:pt x="123" y="84"/>
                  </a:cubicBezTo>
                  <a:cubicBezTo>
                    <a:pt x="123" y="83"/>
                    <a:pt x="123" y="83"/>
                    <a:pt x="123" y="83"/>
                  </a:cubicBezTo>
                  <a:cubicBezTo>
                    <a:pt x="123" y="82"/>
                    <a:pt x="123" y="82"/>
                    <a:pt x="123" y="82"/>
                  </a:cubicBezTo>
                  <a:cubicBezTo>
                    <a:pt x="123" y="81"/>
                    <a:pt x="123" y="81"/>
                    <a:pt x="123" y="81"/>
                  </a:cubicBezTo>
                  <a:cubicBezTo>
                    <a:pt x="123" y="81"/>
                    <a:pt x="123" y="81"/>
                    <a:pt x="123" y="81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3" y="78"/>
                    <a:pt x="123" y="78"/>
                    <a:pt x="123" y="78"/>
                  </a:cubicBezTo>
                  <a:cubicBezTo>
                    <a:pt x="123" y="77"/>
                    <a:pt x="123" y="77"/>
                    <a:pt x="123" y="77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5"/>
                    <a:pt x="123" y="75"/>
                    <a:pt x="123" y="75"/>
                  </a:cubicBezTo>
                  <a:cubicBezTo>
                    <a:pt x="123" y="74"/>
                    <a:pt x="123" y="74"/>
                    <a:pt x="123" y="74"/>
                  </a:cubicBezTo>
                  <a:cubicBezTo>
                    <a:pt x="123" y="73"/>
                    <a:pt x="123" y="73"/>
                    <a:pt x="123" y="73"/>
                  </a:cubicBezTo>
                  <a:cubicBezTo>
                    <a:pt x="123" y="72"/>
                    <a:pt x="123" y="72"/>
                    <a:pt x="123" y="72"/>
                  </a:cubicBezTo>
                  <a:cubicBezTo>
                    <a:pt x="123" y="71"/>
                    <a:pt x="123" y="71"/>
                    <a:pt x="123" y="71"/>
                  </a:cubicBezTo>
                  <a:cubicBezTo>
                    <a:pt x="123" y="70"/>
                    <a:pt x="123" y="70"/>
                    <a:pt x="123" y="70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23" y="69"/>
                    <a:pt x="123" y="69"/>
                    <a:pt x="123" y="69"/>
                  </a:cubicBezTo>
                  <a:cubicBezTo>
                    <a:pt x="123" y="68"/>
                    <a:pt x="123" y="68"/>
                    <a:pt x="123" y="68"/>
                  </a:cubicBezTo>
                  <a:cubicBezTo>
                    <a:pt x="124" y="67"/>
                    <a:pt x="124" y="67"/>
                    <a:pt x="124" y="67"/>
                  </a:cubicBezTo>
                  <a:cubicBezTo>
                    <a:pt x="124" y="66"/>
                    <a:pt x="124" y="66"/>
                    <a:pt x="124" y="66"/>
                  </a:cubicBezTo>
                  <a:cubicBezTo>
                    <a:pt x="123" y="65"/>
                    <a:pt x="123" y="65"/>
                    <a:pt x="123" y="65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4" y="63"/>
                    <a:pt x="124" y="63"/>
                    <a:pt x="124" y="63"/>
                  </a:cubicBezTo>
                  <a:cubicBezTo>
                    <a:pt x="124" y="62"/>
                    <a:pt x="124" y="62"/>
                    <a:pt x="124" y="62"/>
                  </a:cubicBezTo>
                  <a:cubicBezTo>
                    <a:pt x="124" y="61"/>
                    <a:pt x="124" y="61"/>
                    <a:pt x="124" y="61"/>
                  </a:cubicBezTo>
                  <a:cubicBezTo>
                    <a:pt x="124" y="60"/>
                    <a:pt x="124" y="60"/>
                    <a:pt x="124" y="60"/>
                  </a:cubicBezTo>
                  <a:cubicBezTo>
                    <a:pt x="125" y="60"/>
                    <a:pt x="125" y="60"/>
                    <a:pt x="125" y="60"/>
                  </a:cubicBezTo>
                  <a:cubicBezTo>
                    <a:pt x="125" y="58"/>
                    <a:pt x="125" y="58"/>
                    <a:pt x="125" y="58"/>
                  </a:cubicBezTo>
                  <a:cubicBezTo>
                    <a:pt x="125" y="58"/>
                    <a:pt x="125" y="58"/>
                    <a:pt x="125" y="58"/>
                  </a:cubicBezTo>
                  <a:cubicBezTo>
                    <a:pt x="125" y="57"/>
                    <a:pt x="125" y="57"/>
                    <a:pt x="125" y="57"/>
                  </a:cubicBezTo>
                  <a:cubicBezTo>
                    <a:pt x="127" y="53"/>
                    <a:pt x="127" y="53"/>
                    <a:pt x="127" y="53"/>
                  </a:cubicBezTo>
                  <a:cubicBezTo>
                    <a:pt x="127" y="52"/>
                    <a:pt x="127" y="52"/>
                    <a:pt x="127" y="52"/>
                  </a:cubicBezTo>
                  <a:cubicBezTo>
                    <a:pt x="127" y="51"/>
                    <a:pt x="127" y="51"/>
                    <a:pt x="127" y="51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28" y="49"/>
                    <a:pt x="128" y="49"/>
                    <a:pt x="128" y="49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7"/>
                    <a:pt x="128" y="47"/>
                    <a:pt x="128" y="47"/>
                  </a:cubicBezTo>
                  <a:cubicBezTo>
                    <a:pt x="128" y="46"/>
                    <a:pt x="128" y="46"/>
                    <a:pt x="128" y="46"/>
                  </a:cubicBezTo>
                  <a:cubicBezTo>
                    <a:pt x="129" y="46"/>
                    <a:pt x="129" y="46"/>
                    <a:pt x="129" y="46"/>
                  </a:cubicBezTo>
                  <a:cubicBezTo>
                    <a:pt x="130" y="44"/>
                    <a:pt x="130" y="44"/>
                    <a:pt x="130" y="44"/>
                  </a:cubicBezTo>
                  <a:cubicBezTo>
                    <a:pt x="130" y="43"/>
                    <a:pt x="130" y="43"/>
                    <a:pt x="130" y="43"/>
                  </a:cubicBezTo>
                  <a:cubicBezTo>
                    <a:pt x="130" y="42"/>
                    <a:pt x="130" y="42"/>
                    <a:pt x="130" y="42"/>
                  </a:cubicBezTo>
                  <a:cubicBezTo>
                    <a:pt x="131" y="42"/>
                    <a:pt x="131" y="42"/>
                    <a:pt x="131" y="42"/>
                  </a:cubicBezTo>
                  <a:cubicBezTo>
                    <a:pt x="131" y="41"/>
                    <a:pt x="131" y="41"/>
                    <a:pt x="131" y="41"/>
                  </a:cubicBezTo>
                  <a:cubicBezTo>
                    <a:pt x="132" y="40"/>
                    <a:pt x="132" y="40"/>
                    <a:pt x="132" y="40"/>
                  </a:cubicBezTo>
                  <a:cubicBezTo>
                    <a:pt x="132" y="39"/>
                    <a:pt x="132" y="39"/>
                    <a:pt x="132" y="39"/>
                  </a:cubicBezTo>
                  <a:cubicBezTo>
                    <a:pt x="134" y="37"/>
                    <a:pt x="134" y="37"/>
                    <a:pt x="134" y="37"/>
                  </a:cubicBezTo>
                  <a:cubicBezTo>
                    <a:pt x="134" y="36"/>
                    <a:pt x="134" y="36"/>
                    <a:pt x="134" y="36"/>
                  </a:cubicBezTo>
                  <a:cubicBezTo>
                    <a:pt x="135" y="36"/>
                    <a:pt x="135" y="36"/>
                    <a:pt x="135" y="36"/>
                  </a:cubicBezTo>
                  <a:cubicBezTo>
                    <a:pt x="135" y="35"/>
                    <a:pt x="135" y="35"/>
                    <a:pt x="135" y="35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37" y="33"/>
                    <a:pt x="137" y="33"/>
                    <a:pt x="137" y="33"/>
                  </a:cubicBezTo>
                  <a:cubicBezTo>
                    <a:pt x="138" y="33"/>
                    <a:pt x="138" y="33"/>
                    <a:pt x="138" y="33"/>
                  </a:cubicBezTo>
                  <a:cubicBezTo>
                    <a:pt x="139" y="33"/>
                    <a:pt x="139" y="33"/>
                    <a:pt x="139" y="33"/>
                  </a:cubicBezTo>
                  <a:cubicBezTo>
                    <a:pt x="140" y="34"/>
                    <a:pt x="140" y="34"/>
                    <a:pt x="140" y="34"/>
                  </a:cubicBezTo>
                  <a:cubicBezTo>
                    <a:pt x="141" y="34"/>
                    <a:pt x="141" y="34"/>
                    <a:pt x="141" y="34"/>
                  </a:cubicBezTo>
                  <a:cubicBezTo>
                    <a:pt x="142" y="33"/>
                    <a:pt x="142" y="33"/>
                    <a:pt x="142" y="33"/>
                  </a:cubicBezTo>
                  <a:cubicBezTo>
                    <a:pt x="143" y="33"/>
                    <a:pt x="143" y="33"/>
                    <a:pt x="143" y="33"/>
                  </a:cubicBezTo>
                  <a:cubicBezTo>
                    <a:pt x="143" y="33"/>
                    <a:pt x="143" y="33"/>
                    <a:pt x="143" y="33"/>
                  </a:cubicBezTo>
                  <a:cubicBezTo>
                    <a:pt x="143" y="33"/>
                    <a:pt x="143" y="33"/>
                    <a:pt x="143" y="33"/>
                  </a:cubicBezTo>
                  <a:close/>
                </a:path>
              </a:pathLst>
            </a:custGeom>
            <a:solidFill>
              <a:srgbClr val="456EA9"/>
            </a:solidFill>
            <a:ln w="7938" cap="flat">
              <a:solidFill>
                <a:sysClr val="window" lastClr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1" name="Freeform 12">
              <a:extLst>
                <a:ext uri="{FF2B5EF4-FFF2-40B4-BE49-F238E27FC236}">
                  <a16:creationId xmlns:a16="http://schemas.microsoft.com/office/drawing/2014/main" id="{90CDA625-F2BC-BF6C-ADD6-49680B8A3844}"/>
                </a:ext>
              </a:extLst>
            </p:cNvPr>
            <p:cNvSpPr>
              <a:spLocks/>
            </p:cNvSpPr>
            <p:nvPr/>
          </p:nvSpPr>
          <p:spPr bwMode="auto">
            <a:xfrm>
              <a:off x="224" y="2309"/>
              <a:ext cx="674" cy="809"/>
            </a:xfrm>
            <a:custGeom>
              <a:avLst/>
              <a:gdLst>
                <a:gd name="T0" fmla="*/ 495 w 505"/>
                <a:gd name="T1" fmla="*/ 129 h 606"/>
                <a:gd name="T2" fmla="*/ 476 w 505"/>
                <a:gd name="T3" fmla="*/ 109 h 606"/>
                <a:gd name="T4" fmla="*/ 453 w 505"/>
                <a:gd name="T5" fmla="*/ 102 h 606"/>
                <a:gd name="T6" fmla="*/ 447 w 505"/>
                <a:gd name="T7" fmla="*/ 56 h 606"/>
                <a:gd name="T8" fmla="*/ 425 w 505"/>
                <a:gd name="T9" fmla="*/ 44 h 606"/>
                <a:gd name="T10" fmla="*/ 407 w 505"/>
                <a:gd name="T11" fmla="*/ 15 h 606"/>
                <a:gd name="T12" fmla="*/ 381 w 505"/>
                <a:gd name="T13" fmla="*/ 2 h 606"/>
                <a:gd name="T14" fmla="*/ 362 w 505"/>
                <a:gd name="T15" fmla="*/ 9 h 606"/>
                <a:gd name="T16" fmla="*/ 322 w 505"/>
                <a:gd name="T17" fmla="*/ 40 h 606"/>
                <a:gd name="T18" fmla="*/ 290 w 505"/>
                <a:gd name="T19" fmla="*/ 46 h 606"/>
                <a:gd name="T20" fmla="*/ 274 w 505"/>
                <a:gd name="T21" fmla="*/ 31 h 606"/>
                <a:gd name="T22" fmla="*/ 258 w 505"/>
                <a:gd name="T23" fmla="*/ 44 h 606"/>
                <a:gd name="T24" fmla="*/ 225 w 505"/>
                <a:gd name="T25" fmla="*/ 57 h 606"/>
                <a:gd name="T26" fmla="*/ 208 w 505"/>
                <a:gd name="T27" fmla="*/ 87 h 606"/>
                <a:gd name="T28" fmla="*/ 167 w 505"/>
                <a:gd name="T29" fmla="*/ 73 h 606"/>
                <a:gd name="T30" fmla="*/ 128 w 505"/>
                <a:gd name="T31" fmla="*/ 79 h 606"/>
                <a:gd name="T32" fmla="*/ 134 w 505"/>
                <a:gd name="T33" fmla="*/ 100 h 606"/>
                <a:gd name="T34" fmla="*/ 150 w 505"/>
                <a:gd name="T35" fmla="*/ 120 h 606"/>
                <a:gd name="T36" fmla="*/ 114 w 505"/>
                <a:gd name="T37" fmla="*/ 110 h 606"/>
                <a:gd name="T38" fmla="*/ 93 w 505"/>
                <a:gd name="T39" fmla="*/ 103 h 606"/>
                <a:gd name="T40" fmla="*/ 88 w 505"/>
                <a:gd name="T41" fmla="*/ 120 h 606"/>
                <a:gd name="T42" fmla="*/ 68 w 505"/>
                <a:gd name="T43" fmla="*/ 134 h 606"/>
                <a:gd name="T44" fmla="*/ 36 w 505"/>
                <a:gd name="T45" fmla="*/ 149 h 606"/>
                <a:gd name="T46" fmla="*/ 8 w 505"/>
                <a:gd name="T47" fmla="*/ 134 h 606"/>
                <a:gd name="T48" fmla="*/ 0 w 505"/>
                <a:gd name="T49" fmla="*/ 166 h 606"/>
                <a:gd name="T50" fmla="*/ 12 w 505"/>
                <a:gd name="T51" fmla="*/ 204 h 606"/>
                <a:gd name="T52" fmla="*/ 26 w 505"/>
                <a:gd name="T53" fmla="*/ 248 h 606"/>
                <a:gd name="T54" fmla="*/ 38 w 505"/>
                <a:gd name="T55" fmla="*/ 294 h 606"/>
                <a:gd name="T56" fmla="*/ 57 w 505"/>
                <a:gd name="T57" fmla="*/ 311 h 606"/>
                <a:gd name="T58" fmla="*/ 75 w 505"/>
                <a:gd name="T59" fmla="*/ 355 h 606"/>
                <a:gd name="T60" fmla="*/ 106 w 505"/>
                <a:gd name="T61" fmla="*/ 385 h 606"/>
                <a:gd name="T62" fmla="*/ 124 w 505"/>
                <a:gd name="T63" fmla="*/ 416 h 606"/>
                <a:gd name="T64" fmla="*/ 150 w 505"/>
                <a:gd name="T65" fmla="*/ 449 h 606"/>
                <a:gd name="T66" fmla="*/ 172 w 505"/>
                <a:gd name="T67" fmla="*/ 466 h 606"/>
                <a:gd name="T68" fmla="*/ 182 w 505"/>
                <a:gd name="T69" fmla="*/ 500 h 606"/>
                <a:gd name="T70" fmla="*/ 190 w 505"/>
                <a:gd name="T71" fmla="*/ 536 h 606"/>
                <a:gd name="T72" fmla="*/ 202 w 505"/>
                <a:gd name="T73" fmla="*/ 568 h 606"/>
                <a:gd name="T74" fmla="*/ 226 w 505"/>
                <a:gd name="T75" fmla="*/ 606 h 606"/>
                <a:gd name="T76" fmla="*/ 268 w 505"/>
                <a:gd name="T77" fmla="*/ 598 h 606"/>
                <a:gd name="T78" fmla="*/ 266 w 505"/>
                <a:gd name="T79" fmla="*/ 536 h 606"/>
                <a:gd name="T80" fmla="*/ 287 w 505"/>
                <a:gd name="T81" fmla="*/ 488 h 606"/>
                <a:gd name="T82" fmla="*/ 298 w 505"/>
                <a:gd name="T83" fmla="*/ 464 h 606"/>
                <a:gd name="T84" fmla="*/ 290 w 505"/>
                <a:gd name="T85" fmla="*/ 431 h 606"/>
                <a:gd name="T86" fmla="*/ 298 w 505"/>
                <a:gd name="T87" fmla="*/ 414 h 606"/>
                <a:gd name="T88" fmla="*/ 332 w 505"/>
                <a:gd name="T89" fmla="*/ 412 h 606"/>
                <a:gd name="T90" fmla="*/ 353 w 505"/>
                <a:gd name="T91" fmla="*/ 386 h 606"/>
                <a:gd name="T92" fmla="*/ 380 w 505"/>
                <a:gd name="T93" fmla="*/ 395 h 606"/>
                <a:gd name="T94" fmla="*/ 405 w 505"/>
                <a:gd name="T95" fmla="*/ 399 h 606"/>
                <a:gd name="T96" fmla="*/ 433 w 505"/>
                <a:gd name="T97" fmla="*/ 398 h 606"/>
                <a:gd name="T98" fmla="*/ 426 w 505"/>
                <a:gd name="T99" fmla="*/ 371 h 606"/>
                <a:gd name="T100" fmla="*/ 441 w 505"/>
                <a:gd name="T101" fmla="*/ 368 h 606"/>
                <a:gd name="T102" fmla="*/ 444 w 505"/>
                <a:gd name="T103" fmla="*/ 320 h 606"/>
                <a:gd name="T104" fmla="*/ 427 w 505"/>
                <a:gd name="T105" fmla="*/ 282 h 606"/>
                <a:gd name="T106" fmla="*/ 431 w 505"/>
                <a:gd name="T107" fmla="*/ 251 h 606"/>
                <a:gd name="T108" fmla="*/ 428 w 505"/>
                <a:gd name="T109" fmla="*/ 221 h 606"/>
                <a:gd name="T110" fmla="*/ 460 w 505"/>
                <a:gd name="T111" fmla="*/ 208 h 606"/>
                <a:gd name="T112" fmla="*/ 479 w 505"/>
                <a:gd name="T113" fmla="*/ 177 h 606"/>
                <a:gd name="T114" fmla="*/ 505 w 505"/>
                <a:gd name="T115" fmla="*/ 160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05" h="606">
                  <a:moveTo>
                    <a:pt x="505" y="147"/>
                  </a:moveTo>
                  <a:cubicBezTo>
                    <a:pt x="496" y="139"/>
                    <a:pt x="496" y="139"/>
                    <a:pt x="496" y="139"/>
                  </a:cubicBezTo>
                  <a:cubicBezTo>
                    <a:pt x="495" y="129"/>
                    <a:pt x="495" y="129"/>
                    <a:pt x="495" y="129"/>
                  </a:cubicBezTo>
                  <a:cubicBezTo>
                    <a:pt x="485" y="129"/>
                    <a:pt x="485" y="129"/>
                    <a:pt x="485" y="129"/>
                  </a:cubicBezTo>
                  <a:cubicBezTo>
                    <a:pt x="479" y="122"/>
                    <a:pt x="479" y="122"/>
                    <a:pt x="479" y="122"/>
                  </a:cubicBezTo>
                  <a:cubicBezTo>
                    <a:pt x="476" y="109"/>
                    <a:pt x="476" y="109"/>
                    <a:pt x="476" y="109"/>
                  </a:cubicBezTo>
                  <a:cubicBezTo>
                    <a:pt x="466" y="105"/>
                    <a:pt x="466" y="105"/>
                    <a:pt x="466" y="105"/>
                  </a:cubicBezTo>
                  <a:cubicBezTo>
                    <a:pt x="462" y="110"/>
                    <a:pt x="462" y="110"/>
                    <a:pt x="462" y="110"/>
                  </a:cubicBezTo>
                  <a:cubicBezTo>
                    <a:pt x="453" y="102"/>
                    <a:pt x="453" y="102"/>
                    <a:pt x="453" y="102"/>
                  </a:cubicBezTo>
                  <a:cubicBezTo>
                    <a:pt x="465" y="90"/>
                    <a:pt x="465" y="90"/>
                    <a:pt x="465" y="90"/>
                  </a:cubicBezTo>
                  <a:cubicBezTo>
                    <a:pt x="463" y="72"/>
                    <a:pt x="463" y="72"/>
                    <a:pt x="463" y="72"/>
                  </a:cubicBezTo>
                  <a:cubicBezTo>
                    <a:pt x="447" y="56"/>
                    <a:pt x="447" y="56"/>
                    <a:pt x="447" y="56"/>
                  </a:cubicBezTo>
                  <a:cubicBezTo>
                    <a:pt x="434" y="57"/>
                    <a:pt x="434" y="57"/>
                    <a:pt x="434" y="57"/>
                  </a:cubicBezTo>
                  <a:cubicBezTo>
                    <a:pt x="434" y="49"/>
                    <a:pt x="434" y="49"/>
                    <a:pt x="434" y="49"/>
                  </a:cubicBezTo>
                  <a:cubicBezTo>
                    <a:pt x="425" y="44"/>
                    <a:pt x="425" y="44"/>
                    <a:pt x="425" y="44"/>
                  </a:cubicBezTo>
                  <a:cubicBezTo>
                    <a:pt x="410" y="43"/>
                    <a:pt x="410" y="43"/>
                    <a:pt x="410" y="43"/>
                  </a:cubicBezTo>
                  <a:cubicBezTo>
                    <a:pt x="406" y="27"/>
                    <a:pt x="406" y="27"/>
                    <a:pt x="406" y="27"/>
                  </a:cubicBezTo>
                  <a:cubicBezTo>
                    <a:pt x="407" y="15"/>
                    <a:pt x="407" y="15"/>
                    <a:pt x="407" y="15"/>
                  </a:cubicBezTo>
                  <a:cubicBezTo>
                    <a:pt x="393" y="15"/>
                    <a:pt x="393" y="15"/>
                    <a:pt x="393" y="15"/>
                  </a:cubicBezTo>
                  <a:cubicBezTo>
                    <a:pt x="383" y="10"/>
                    <a:pt x="383" y="10"/>
                    <a:pt x="383" y="10"/>
                  </a:cubicBezTo>
                  <a:cubicBezTo>
                    <a:pt x="381" y="2"/>
                    <a:pt x="381" y="2"/>
                    <a:pt x="381" y="2"/>
                  </a:cubicBezTo>
                  <a:cubicBezTo>
                    <a:pt x="371" y="0"/>
                    <a:pt x="371" y="0"/>
                    <a:pt x="371" y="0"/>
                  </a:cubicBezTo>
                  <a:cubicBezTo>
                    <a:pt x="371" y="0"/>
                    <a:pt x="371" y="0"/>
                    <a:pt x="371" y="0"/>
                  </a:cubicBezTo>
                  <a:cubicBezTo>
                    <a:pt x="362" y="9"/>
                    <a:pt x="362" y="9"/>
                    <a:pt x="362" y="9"/>
                  </a:cubicBezTo>
                  <a:cubicBezTo>
                    <a:pt x="343" y="9"/>
                    <a:pt x="343" y="9"/>
                    <a:pt x="343" y="9"/>
                  </a:cubicBezTo>
                  <a:cubicBezTo>
                    <a:pt x="338" y="25"/>
                    <a:pt x="338" y="25"/>
                    <a:pt x="338" y="25"/>
                  </a:cubicBezTo>
                  <a:cubicBezTo>
                    <a:pt x="322" y="40"/>
                    <a:pt x="322" y="40"/>
                    <a:pt x="322" y="40"/>
                  </a:cubicBezTo>
                  <a:cubicBezTo>
                    <a:pt x="305" y="40"/>
                    <a:pt x="305" y="40"/>
                    <a:pt x="305" y="40"/>
                  </a:cubicBezTo>
                  <a:cubicBezTo>
                    <a:pt x="299" y="46"/>
                    <a:pt x="299" y="46"/>
                    <a:pt x="299" y="46"/>
                  </a:cubicBezTo>
                  <a:cubicBezTo>
                    <a:pt x="290" y="46"/>
                    <a:pt x="290" y="46"/>
                    <a:pt x="290" y="46"/>
                  </a:cubicBezTo>
                  <a:cubicBezTo>
                    <a:pt x="285" y="40"/>
                    <a:pt x="285" y="40"/>
                    <a:pt x="285" y="40"/>
                  </a:cubicBezTo>
                  <a:cubicBezTo>
                    <a:pt x="274" y="40"/>
                    <a:pt x="274" y="40"/>
                    <a:pt x="274" y="40"/>
                  </a:cubicBezTo>
                  <a:cubicBezTo>
                    <a:pt x="274" y="31"/>
                    <a:pt x="274" y="31"/>
                    <a:pt x="274" y="31"/>
                  </a:cubicBezTo>
                  <a:cubicBezTo>
                    <a:pt x="268" y="26"/>
                    <a:pt x="268" y="26"/>
                    <a:pt x="268" y="26"/>
                  </a:cubicBezTo>
                  <a:cubicBezTo>
                    <a:pt x="263" y="33"/>
                    <a:pt x="263" y="33"/>
                    <a:pt x="263" y="33"/>
                  </a:cubicBezTo>
                  <a:cubicBezTo>
                    <a:pt x="258" y="44"/>
                    <a:pt x="258" y="44"/>
                    <a:pt x="258" y="44"/>
                  </a:cubicBezTo>
                  <a:cubicBezTo>
                    <a:pt x="234" y="48"/>
                    <a:pt x="234" y="48"/>
                    <a:pt x="234" y="48"/>
                  </a:cubicBezTo>
                  <a:cubicBezTo>
                    <a:pt x="234" y="58"/>
                    <a:pt x="234" y="58"/>
                    <a:pt x="234" y="58"/>
                  </a:cubicBezTo>
                  <a:cubicBezTo>
                    <a:pt x="225" y="57"/>
                    <a:pt x="225" y="57"/>
                    <a:pt x="225" y="57"/>
                  </a:cubicBezTo>
                  <a:cubicBezTo>
                    <a:pt x="216" y="66"/>
                    <a:pt x="216" y="66"/>
                    <a:pt x="216" y="66"/>
                  </a:cubicBezTo>
                  <a:cubicBezTo>
                    <a:pt x="218" y="81"/>
                    <a:pt x="218" y="81"/>
                    <a:pt x="218" y="81"/>
                  </a:cubicBezTo>
                  <a:cubicBezTo>
                    <a:pt x="208" y="87"/>
                    <a:pt x="208" y="87"/>
                    <a:pt x="208" y="87"/>
                  </a:cubicBezTo>
                  <a:cubicBezTo>
                    <a:pt x="194" y="102"/>
                    <a:pt x="194" y="102"/>
                    <a:pt x="194" y="102"/>
                  </a:cubicBezTo>
                  <a:cubicBezTo>
                    <a:pt x="178" y="84"/>
                    <a:pt x="178" y="84"/>
                    <a:pt x="178" y="84"/>
                  </a:cubicBezTo>
                  <a:cubicBezTo>
                    <a:pt x="167" y="73"/>
                    <a:pt x="167" y="73"/>
                    <a:pt x="167" y="73"/>
                  </a:cubicBezTo>
                  <a:cubicBezTo>
                    <a:pt x="156" y="78"/>
                    <a:pt x="156" y="78"/>
                    <a:pt x="156" y="78"/>
                  </a:cubicBezTo>
                  <a:cubicBezTo>
                    <a:pt x="143" y="72"/>
                    <a:pt x="143" y="72"/>
                    <a:pt x="143" y="72"/>
                  </a:cubicBezTo>
                  <a:cubicBezTo>
                    <a:pt x="128" y="79"/>
                    <a:pt x="128" y="79"/>
                    <a:pt x="128" y="79"/>
                  </a:cubicBezTo>
                  <a:cubicBezTo>
                    <a:pt x="118" y="90"/>
                    <a:pt x="118" y="90"/>
                    <a:pt x="118" y="90"/>
                  </a:cubicBezTo>
                  <a:cubicBezTo>
                    <a:pt x="126" y="92"/>
                    <a:pt x="126" y="92"/>
                    <a:pt x="126" y="92"/>
                  </a:cubicBezTo>
                  <a:cubicBezTo>
                    <a:pt x="134" y="100"/>
                    <a:pt x="134" y="100"/>
                    <a:pt x="134" y="100"/>
                  </a:cubicBezTo>
                  <a:cubicBezTo>
                    <a:pt x="145" y="102"/>
                    <a:pt x="145" y="102"/>
                    <a:pt x="145" y="102"/>
                  </a:cubicBezTo>
                  <a:cubicBezTo>
                    <a:pt x="153" y="108"/>
                    <a:pt x="153" y="108"/>
                    <a:pt x="153" y="108"/>
                  </a:cubicBezTo>
                  <a:cubicBezTo>
                    <a:pt x="150" y="120"/>
                    <a:pt x="150" y="120"/>
                    <a:pt x="150" y="120"/>
                  </a:cubicBezTo>
                  <a:cubicBezTo>
                    <a:pt x="139" y="116"/>
                    <a:pt x="139" y="116"/>
                    <a:pt x="139" y="116"/>
                  </a:cubicBezTo>
                  <a:cubicBezTo>
                    <a:pt x="124" y="114"/>
                    <a:pt x="124" y="114"/>
                    <a:pt x="124" y="114"/>
                  </a:cubicBezTo>
                  <a:cubicBezTo>
                    <a:pt x="114" y="110"/>
                    <a:pt x="114" y="110"/>
                    <a:pt x="114" y="110"/>
                  </a:cubicBezTo>
                  <a:cubicBezTo>
                    <a:pt x="108" y="116"/>
                    <a:pt x="108" y="116"/>
                    <a:pt x="108" y="116"/>
                  </a:cubicBezTo>
                  <a:cubicBezTo>
                    <a:pt x="100" y="108"/>
                    <a:pt x="100" y="108"/>
                    <a:pt x="100" y="108"/>
                  </a:cubicBezTo>
                  <a:cubicBezTo>
                    <a:pt x="93" y="103"/>
                    <a:pt x="93" y="103"/>
                    <a:pt x="93" y="103"/>
                  </a:cubicBezTo>
                  <a:cubicBezTo>
                    <a:pt x="85" y="102"/>
                    <a:pt x="85" y="102"/>
                    <a:pt x="85" y="102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88" y="120"/>
                    <a:pt x="88" y="120"/>
                    <a:pt x="88" y="120"/>
                  </a:cubicBezTo>
                  <a:cubicBezTo>
                    <a:pt x="86" y="137"/>
                    <a:pt x="86" y="137"/>
                    <a:pt x="86" y="137"/>
                  </a:cubicBezTo>
                  <a:cubicBezTo>
                    <a:pt x="76" y="134"/>
                    <a:pt x="76" y="134"/>
                    <a:pt x="76" y="134"/>
                  </a:cubicBezTo>
                  <a:cubicBezTo>
                    <a:pt x="68" y="134"/>
                    <a:pt x="68" y="134"/>
                    <a:pt x="68" y="134"/>
                  </a:cubicBezTo>
                  <a:cubicBezTo>
                    <a:pt x="52" y="134"/>
                    <a:pt x="52" y="134"/>
                    <a:pt x="52" y="134"/>
                  </a:cubicBezTo>
                  <a:cubicBezTo>
                    <a:pt x="41" y="139"/>
                    <a:pt x="41" y="139"/>
                    <a:pt x="41" y="139"/>
                  </a:cubicBezTo>
                  <a:cubicBezTo>
                    <a:pt x="36" y="149"/>
                    <a:pt x="36" y="149"/>
                    <a:pt x="36" y="149"/>
                  </a:cubicBezTo>
                  <a:cubicBezTo>
                    <a:pt x="26" y="146"/>
                    <a:pt x="26" y="146"/>
                    <a:pt x="26" y="146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8" y="134"/>
                    <a:pt x="8" y="134"/>
                    <a:pt x="8" y="134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4" y="154"/>
                    <a:pt x="4" y="154"/>
                    <a:pt x="4" y="154"/>
                  </a:cubicBezTo>
                  <a:cubicBezTo>
                    <a:pt x="0" y="166"/>
                    <a:pt x="0" y="166"/>
                    <a:pt x="0" y="166"/>
                  </a:cubicBezTo>
                  <a:cubicBezTo>
                    <a:pt x="5" y="177"/>
                    <a:pt x="5" y="177"/>
                    <a:pt x="5" y="177"/>
                  </a:cubicBezTo>
                  <a:cubicBezTo>
                    <a:pt x="13" y="184"/>
                    <a:pt x="13" y="184"/>
                    <a:pt x="13" y="184"/>
                  </a:cubicBezTo>
                  <a:cubicBezTo>
                    <a:pt x="12" y="204"/>
                    <a:pt x="12" y="204"/>
                    <a:pt x="12" y="204"/>
                  </a:cubicBezTo>
                  <a:cubicBezTo>
                    <a:pt x="18" y="214"/>
                    <a:pt x="18" y="214"/>
                    <a:pt x="18" y="214"/>
                  </a:cubicBezTo>
                  <a:cubicBezTo>
                    <a:pt x="24" y="226"/>
                    <a:pt x="24" y="226"/>
                    <a:pt x="24" y="226"/>
                  </a:cubicBezTo>
                  <a:cubicBezTo>
                    <a:pt x="26" y="248"/>
                    <a:pt x="26" y="248"/>
                    <a:pt x="26" y="248"/>
                  </a:cubicBezTo>
                  <a:cubicBezTo>
                    <a:pt x="24" y="279"/>
                    <a:pt x="24" y="279"/>
                    <a:pt x="24" y="279"/>
                  </a:cubicBezTo>
                  <a:cubicBezTo>
                    <a:pt x="30" y="295"/>
                    <a:pt x="30" y="295"/>
                    <a:pt x="30" y="295"/>
                  </a:cubicBezTo>
                  <a:cubicBezTo>
                    <a:pt x="38" y="294"/>
                    <a:pt x="38" y="294"/>
                    <a:pt x="38" y="294"/>
                  </a:cubicBezTo>
                  <a:cubicBezTo>
                    <a:pt x="45" y="303"/>
                    <a:pt x="45" y="303"/>
                    <a:pt x="45" y="303"/>
                  </a:cubicBezTo>
                  <a:cubicBezTo>
                    <a:pt x="50" y="310"/>
                    <a:pt x="50" y="310"/>
                    <a:pt x="50" y="310"/>
                  </a:cubicBezTo>
                  <a:cubicBezTo>
                    <a:pt x="57" y="311"/>
                    <a:pt x="57" y="311"/>
                    <a:pt x="57" y="311"/>
                  </a:cubicBezTo>
                  <a:cubicBezTo>
                    <a:pt x="60" y="324"/>
                    <a:pt x="60" y="324"/>
                    <a:pt x="60" y="324"/>
                  </a:cubicBezTo>
                  <a:cubicBezTo>
                    <a:pt x="70" y="339"/>
                    <a:pt x="70" y="339"/>
                    <a:pt x="70" y="339"/>
                  </a:cubicBezTo>
                  <a:cubicBezTo>
                    <a:pt x="75" y="355"/>
                    <a:pt x="75" y="355"/>
                    <a:pt x="75" y="355"/>
                  </a:cubicBezTo>
                  <a:cubicBezTo>
                    <a:pt x="90" y="365"/>
                    <a:pt x="90" y="365"/>
                    <a:pt x="90" y="365"/>
                  </a:cubicBezTo>
                  <a:cubicBezTo>
                    <a:pt x="100" y="370"/>
                    <a:pt x="100" y="370"/>
                    <a:pt x="100" y="370"/>
                  </a:cubicBezTo>
                  <a:cubicBezTo>
                    <a:pt x="106" y="385"/>
                    <a:pt x="106" y="385"/>
                    <a:pt x="106" y="385"/>
                  </a:cubicBezTo>
                  <a:cubicBezTo>
                    <a:pt x="117" y="394"/>
                    <a:pt x="117" y="394"/>
                    <a:pt x="117" y="394"/>
                  </a:cubicBezTo>
                  <a:cubicBezTo>
                    <a:pt x="114" y="408"/>
                    <a:pt x="114" y="408"/>
                    <a:pt x="114" y="408"/>
                  </a:cubicBezTo>
                  <a:cubicBezTo>
                    <a:pt x="124" y="416"/>
                    <a:pt x="124" y="416"/>
                    <a:pt x="124" y="416"/>
                  </a:cubicBezTo>
                  <a:cubicBezTo>
                    <a:pt x="126" y="438"/>
                    <a:pt x="126" y="438"/>
                    <a:pt x="126" y="438"/>
                  </a:cubicBezTo>
                  <a:cubicBezTo>
                    <a:pt x="136" y="447"/>
                    <a:pt x="136" y="447"/>
                    <a:pt x="136" y="447"/>
                  </a:cubicBezTo>
                  <a:cubicBezTo>
                    <a:pt x="150" y="449"/>
                    <a:pt x="150" y="449"/>
                    <a:pt x="150" y="449"/>
                  </a:cubicBezTo>
                  <a:cubicBezTo>
                    <a:pt x="159" y="457"/>
                    <a:pt x="159" y="457"/>
                    <a:pt x="159" y="457"/>
                  </a:cubicBezTo>
                  <a:cubicBezTo>
                    <a:pt x="161" y="464"/>
                    <a:pt x="161" y="464"/>
                    <a:pt x="161" y="464"/>
                  </a:cubicBezTo>
                  <a:cubicBezTo>
                    <a:pt x="172" y="466"/>
                    <a:pt x="172" y="466"/>
                    <a:pt x="172" y="466"/>
                  </a:cubicBezTo>
                  <a:cubicBezTo>
                    <a:pt x="176" y="478"/>
                    <a:pt x="176" y="478"/>
                    <a:pt x="176" y="478"/>
                  </a:cubicBezTo>
                  <a:cubicBezTo>
                    <a:pt x="186" y="488"/>
                    <a:pt x="186" y="488"/>
                    <a:pt x="186" y="488"/>
                  </a:cubicBezTo>
                  <a:cubicBezTo>
                    <a:pt x="182" y="500"/>
                    <a:pt x="182" y="500"/>
                    <a:pt x="182" y="500"/>
                  </a:cubicBezTo>
                  <a:cubicBezTo>
                    <a:pt x="176" y="510"/>
                    <a:pt x="176" y="510"/>
                    <a:pt x="176" y="510"/>
                  </a:cubicBezTo>
                  <a:cubicBezTo>
                    <a:pt x="185" y="522"/>
                    <a:pt x="185" y="522"/>
                    <a:pt x="185" y="522"/>
                  </a:cubicBezTo>
                  <a:cubicBezTo>
                    <a:pt x="190" y="536"/>
                    <a:pt x="190" y="536"/>
                    <a:pt x="190" y="536"/>
                  </a:cubicBezTo>
                  <a:cubicBezTo>
                    <a:pt x="190" y="544"/>
                    <a:pt x="190" y="544"/>
                    <a:pt x="190" y="544"/>
                  </a:cubicBezTo>
                  <a:cubicBezTo>
                    <a:pt x="201" y="552"/>
                    <a:pt x="201" y="552"/>
                    <a:pt x="201" y="552"/>
                  </a:cubicBezTo>
                  <a:cubicBezTo>
                    <a:pt x="202" y="568"/>
                    <a:pt x="202" y="568"/>
                    <a:pt x="202" y="568"/>
                  </a:cubicBezTo>
                  <a:cubicBezTo>
                    <a:pt x="210" y="590"/>
                    <a:pt x="210" y="590"/>
                    <a:pt x="210" y="590"/>
                  </a:cubicBezTo>
                  <a:cubicBezTo>
                    <a:pt x="212" y="602"/>
                    <a:pt x="212" y="602"/>
                    <a:pt x="212" y="602"/>
                  </a:cubicBezTo>
                  <a:cubicBezTo>
                    <a:pt x="226" y="606"/>
                    <a:pt x="226" y="606"/>
                    <a:pt x="226" y="606"/>
                  </a:cubicBezTo>
                  <a:cubicBezTo>
                    <a:pt x="242" y="600"/>
                    <a:pt x="242" y="600"/>
                    <a:pt x="242" y="600"/>
                  </a:cubicBezTo>
                  <a:cubicBezTo>
                    <a:pt x="252" y="605"/>
                    <a:pt x="252" y="605"/>
                    <a:pt x="252" y="605"/>
                  </a:cubicBezTo>
                  <a:cubicBezTo>
                    <a:pt x="268" y="598"/>
                    <a:pt x="268" y="598"/>
                    <a:pt x="268" y="598"/>
                  </a:cubicBezTo>
                  <a:cubicBezTo>
                    <a:pt x="267" y="576"/>
                    <a:pt x="267" y="576"/>
                    <a:pt x="267" y="576"/>
                  </a:cubicBezTo>
                  <a:cubicBezTo>
                    <a:pt x="270" y="559"/>
                    <a:pt x="270" y="559"/>
                    <a:pt x="270" y="559"/>
                  </a:cubicBezTo>
                  <a:cubicBezTo>
                    <a:pt x="266" y="536"/>
                    <a:pt x="266" y="536"/>
                    <a:pt x="266" y="536"/>
                  </a:cubicBezTo>
                  <a:cubicBezTo>
                    <a:pt x="266" y="518"/>
                    <a:pt x="266" y="518"/>
                    <a:pt x="266" y="518"/>
                  </a:cubicBezTo>
                  <a:cubicBezTo>
                    <a:pt x="280" y="494"/>
                    <a:pt x="280" y="494"/>
                    <a:pt x="280" y="494"/>
                  </a:cubicBezTo>
                  <a:cubicBezTo>
                    <a:pt x="287" y="488"/>
                    <a:pt x="287" y="488"/>
                    <a:pt x="287" y="488"/>
                  </a:cubicBezTo>
                  <a:cubicBezTo>
                    <a:pt x="287" y="483"/>
                    <a:pt x="287" y="483"/>
                    <a:pt x="287" y="483"/>
                  </a:cubicBezTo>
                  <a:cubicBezTo>
                    <a:pt x="295" y="475"/>
                    <a:pt x="295" y="475"/>
                    <a:pt x="295" y="475"/>
                  </a:cubicBezTo>
                  <a:cubicBezTo>
                    <a:pt x="298" y="464"/>
                    <a:pt x="298" y="464"/>
                    <a:pt x="298" y="464"/>
                  </a:cubicBezTo>
                  <a:cubicBezTo>
                    <a:pt x="301" y="451"/>
                    <a:pt x="301" y="451"/>
                    <a:pt x="301" y="451"/>
                  </a:cubicBezTo>
                  <a:cubicBezTo>
                    <a:pt x="297" y="438"/>
                    <a:pt x="297" y="438"/>
                    <a:pt x="297" y="438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90" y="420"/>
                    <a:pt x="290" y="420"/>
                    <a:pt x="290" y="420"/>
                  </a:cubicBezTo>
                  <a:cubicBezTo>
                    <a:pt x="297" y="414"/>
                    <a:pt x="297" y="414"/>
                    <a:pt x="297" y="414"/>
                  </a:cubicBezTo>
                  <a:cubicBezTo>
                    <a:pt x="298" y="414"/>
                    <a:pt x="298" y="414"/>
                    <a:pt x="298" y="414"/>
                  </a:cubicBezTo>
                  <a:cubicBezTo>
                    <a:pt x="306" y="416"/>
                    <a:pt x="306" y="416"/>
                    <a:pt x="306" y="416"/>
                  </a:cubicBezTo>
                  <a:cubicBezTo>
                    <a:pt x="320" y="412"/>
                    <a:pt x="320" y="412"/>
                    <a:pt x="320" y="412"/>
                  </a:cubicBezTo>
                  <a:cubicBezTo>
                    <a:pt x="332" y="412"/>
                    <a:pt x="332" y="412"/>
                    <a:pt x="332" y="412"/>
                  </a:cubicBezTo>
                  <a:cubicBezTo>
                    <a:pt x="344" y="399"/>
                    <a:pt x="344" y="399"/>
                    <a:pt x="344" y="399"/>
                  </a:cubicBezTo>
                  <a:cubicBezTo>
                    <a:pt x="353" y="395"/>
                    <a:pt x="353" y="395"/>
                    <a:pt x="353" y="395"/>
                  </a:cubicBezTo>
                  <a:cubicBezTo>
                    <a:pt x="353" y="386"/>
                    <a:pt x="353" y="386"/>
                    <a:pt x="353" y="386"/>
                  </a:cubicBezTo>
                  <a:cubicBezTo>
                    <a:pt x="365" y="388"/>
                    <a:pt x="365" y="388"/>
                    <a:pt x="365" y="388"/>
                  </a:cubicBezTo>
                  <a:cubicBezTo>
                    <a:pt x="370" y="392"/>
                    <a:pt x="370" y="392"/>
                    <a:pt x="370" y="392"/>
                  </a:cubicBezTo>
                  <a:cubicBezTo>
                    <a:pt x="380" y="395"/>
                    <a:pt x="380" y="395"/>
                    <a:pt x="380" y="395"/>
                  </a:cubicBezTo>
                  <a:cubicBezTo>
                    <a:pt x="380" y="395"/>
                    <a:pt x="378" y="400"/>
                    <a:pt x="385" y="400"/>
                  </a:cubicBezTo>
                  <a:cubicBezTo>
                    <a:pt x="391" y="400"/>
                    <a:pt x="399" y="399"/>
                    <a:pt x="399" y="399"/>
                  </a:cubicBezTo>
                  <a:cubicBezTo>
                    <a:pt x="405" y="399"/>
                    <a:pt x="405" y="399"/>
                    <a:pt x="405" y="399"/>
                  </a:cubicBezTo>
                  <a:cubicBezTo>
                    <a:pt x="412" y="399"/>
                    <a:pt x="412" y="399"/>
                    <a:pt x="412" y="399"/>
                  </a:cubicBezTo>
                  <a:cubicBezTo>
                    <a:pt x="422" y="399"/>
                    <a:pt x="422" y="399"/>
                    <a:pt x="422" y="399"/>
                  </a:cubicBezTo>
                  <a:cubicBezTo>
                    <a:pt x="433" y="398"/>
                    <a:pt x="433" y="398"/>
                    <a:pt x="433" y="398"/>
                  </a:cubicBezTo>
                  <a:cubicBezTo>
                    <a:pt x="440" y="391"/>
                    <a:pt x="440" y="391"/>
                    <a:pt x="440" y="391"/>
                  </a:cubicBezTo>
                  <a:cubicBezTo>
                    <a:pt x="431" y="383"/>
                    <a:pt x="431" y="383"/>
                    <a:pt x="431" y="383"/>
                  </a:cubicBezTo>
                  <a:cubicBezTo>
                    <a:pt x="426" y="371"/>
                    <a:pt x="426" y="371"/>
                    <a:pt x="426" y="371"/>
                  </a:cubicBezTo>
                  <a:cubicBezTo>
                    <a:pt x="424" y="359"/>
                    <a:pt x="424" y="359"/>
                    <a:pt x="424" y="359"/>
                  </a:cubicBezTo>
                  <a:cubicBezTo>
                    <a:pt x="434" y="360"/>
                    <a:pt x="434" y="360"/>
                    <a:pt x="434" y="360"/>
                  </a:cubicBezTo>
                  <a:cubicBezTo>
                    <a:pt x="441" y="368"/>
                    <a:pt x="441" y="368"/>
                    <a:pt x="441" y="368"/>
                  </a:cubicBezTo>
                  <a:cubicBezTo>
                    <a:pt x="448" y="361"/>
                    <a:pt x="448" y="361"/>
                    <a:pt x="448" y="361"/>
                  </a:cubicBezTo>
                  <a:cubicBezTo>
                    <a:pt x="448" y="342"/>
                    <a:pt x="448" y="342"/>
                    <a:pt x="448" y="342"/>
                  </a:cubicBezTo>
                  <a:cubicBezTo>
                    <a:pt x="444" y="320"/>
                    <a:pt x="444" y="320"/>
                    <a:pt x="444" y="320"/>
                  </a:cubicBezTo>
                  <a:cubicBezTo>
                    <a:pt x="448" y="302"/>
                    <a:pt x="448" y="302"/>
                    <a:pt x="448" y="302"/>
                  </a:cubicBezTo>
                  <a:cubicBezTo>
                    <a:pt x="440" y="294"/>
                    <a:pt x="440" y="294"/>
                    <a:pt x="440" y="294"/>
                  </a:cubicBezTo>
                  <a:cubicBezTo>
                    <a:pt x="427" y="282"/>
                    <a:pt x="427" y="282"/>
                    <a:pt x="427" y="282"/>
                  </a:cubicBezTo>
                  <a:cubicBezTo>
                    <a:pt x="418" y="277"/>
                    <a:pt x="418" y="277"/>
                    <a:pt x="418" y="277"/>
                  </a:cubicBezTo>
                  <a:cubicBezTo>
                    <a:pt x="427" y="268"/>
                    <a:pt x="427" y="268"/>
                    <a:pt x="427" y="268"/>
                  </a:cubicBezTo>
                  <a:cubicBezTo>
                    <a:pt x="431" y="251"/>
                    <a:pt x="431" y="251"/>
                    <a:pt x="431" y="251"/>
                  </a:cubicBezTo>
                  <a:cubicBezTo>
                    <a:pt x="421" y="241"/>
                    <a:pt x="421" y="241"/>
                    <a:pt x="421" y="241"/>
                  </a:cubicBezTo>
                  <a:cubicBezTo>
                    <a:pt x="417" y="228"/>
                    <a:pt x="417" y="228"/>
                    <a:pt x="417" y="228"/>
                  </a:cubicBezTo>
                  <a:cubicBezTo>
                    <a:pt x="428" y="221"/>
                    <a:pt x="428" y="221"/>
                    <a:pt x="428" y="221"/>
                  </a:cubicBezTo>
                  <a:cubicBezTo>
                    <a:pt x="436" y="212"/>
                    <a:pt x="436" y="212"/>
                    <a:pt x="436" y="212"/>
                  </a:cubicBezTo>
                  <a:cubicBezTo>
                    <a:pt x="448" y="213"/>
                    <a:pt x="448" y="213"/>
                    <a:pt x="448" y="213"/>
                  </a:cubicBezTo>
                  <a:cubicBezTo>
                    <a:pt x="460" y="208"/>
                    <a:pt x="460" y="208"/>
                    <a:pt x="460" y="208"/>
                  </a:cubicBezTo>
                  <a:cubicBezTo>
                    <a:pt x="460" y="196"/>
                    <a:pt x="460" y="196"/>
                    <a:pt x="460" y="196"/>
                  </a:cubicBezTo>
                  <a:cubicBezTo>
                    <a:pt x="468" y="188"/>
                    <a:pt x="468" y="188"/>
                    <a:pt x="468" y="188"/>
                  </a:cubicBezTo>
                  <a:cubicBezTo>
                    <a:pt x="479" y="177"/>
                    <a:pt x="479" y="177"/>
                    <a:pt x="479" y="177"/>
                  </a:cubicBezTo>
                  <a:cubicBezTo>
                    <a:pt x="492" y="177"/>
                    <a:pt x="492" y="177"/>
                    <a:pt x="492" y="177"/>
                  </a:cubicBezTo>
                  <a:cubicBezTo>
                    <a:pt x="500" y="171"/>
                    <a:pt x="500" y="171"/>
                    <a:pt x="500" y="171"/>
                  </a:cubicBezTo>
                  <a:cubicBezTo>
                    <a:pt x="505" y="160"/>
                    <a:pt x="505" y="160"/>
                    <a:pt x="505" y="160"/>
                  </a:cubicBezTo>
                  <a:lnTo>
                    <a:pt x="505" y="147"/>
                  </a:lnTo>
                  <a:close/>
                </a:path>
              </a:pathLst>
            </a:custGeom>
            <a:solidFill>
              <a:srgbClr val="456EA9"/>
            </a:solidFill>
            <a:ln w="7938" cap="flat">
              <a:solidFill>
                <a:sysClr val="window" lastClr="FFFFF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</p:grpSp>
      <p:sp>
        <p:nvSpPr>
          <p:cNvPr id="12" name="Заголовок 2">
            <a:extLst>
              <a:ext uri="{FF2B5EF4-FFF2-40B4-BE49-F238E27FC236}">
                <a16:creationId xmlns:a16="http://schemas.microsoft.com/office/drawing/2014/main" id="{B2F8010A-90EA-D814-4740-81A2B1B0C18C}"/>
              </a:ext>
            </a:extLst>
          </p:cNvPr>
          <p:cNvSpPr txBox="1">
            <a:spLocks/>
          </p:cNvSpPr>
          <p:nvPr/>
        </p:nvSpPr>
        <p:spPr>
          <a:xfrm>
            <a:off x="581671" y="1016922"/>
            <a:ext cx="9212280" cy="338094"/>
          </a:xfrm>
          <a:prstGeom prst="rect">
            <a:avLst/>
          </a:prstGeom>
        </p:spPr>
        <p:txBody>
          <a:bodyPr lIns="0" tIns="0" rIns="0" bIns="0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00" b="1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 dirty="0">
                <a:solidFill>
                  <a:srgbClr val="333333"/>
                </a:solidFill>
              </a:rPr>
              <a:t>Накопления золошлаковых отходов по Федеральным округам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03E034D9-8DA7-0F3A-B4AE-DEB46B0A145F}"/>
              </a:ext>
            </a:extLst>
          </p:cNvPr>
          <p:cNvGrpSpPr/>
          <p:nvPr/>
        </p:nvGrpSpPr>
        <p:grpSpPr>
          <a:xfrm>
            <a:off x="5080886" y="4289496"/>
            <a:ext cx="847317" cy="911959"/>
            <a:chOff x="4451466" y="3528247"/>
            <a:chExt cx="890670" cy="890666"/>
          </a:xfrm>
        </p:grpSpPr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2CB921C6-6131-A7DF-246E-9757014B4C0C}"/>
                </a:ext>
              </a:extLst>
            </p:cNvPr>
            <p:cNvSpPr/>
            <p:nvPr/>
          </p:nvSpPr>
          <p:spPr>
            <a:xfrm>
              <a:off x="4451466" y="3528247"/>
              <a:ext cx="890670" cy="890666"/>
            </a:xfrm>
            <a:prstGeom prst="ellipse">
              <a:avLst/>
            </a:prstGeom>
            <a:solidFill>
              <a:srgbClr val="FFFFFF"/>
            </a:solidFill>
            <a:ln w="146050" cap="flat" cmpd="sng" algn="ctr">
              <a:solidFill>
                <a:srgbClr val="FFFFFF">
                  <a:alpha val="25000"/>
                </a:srgbClr>
              </a:solidFill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0" rIns="0" rtlCol="0" anchor="ctr"/>
            <a:lstStyle/>
            <a:p>
              <a:pPr algn="ctr" defTabSz="914400">
                <a:defRPr/>
              </a:pPr>
              <a:endParaRPr lang="ru-RU" sz="1600" b="1" kern="0" dirty="0">
                <a:solidFill>
                  <a:srgbClr val="293D6D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2598D359-D13E-8645-BD56-840F02ADAF22}"/>
                </a:ext>
              </a:extLst>
            </p:cNvPr>
            <p:cNvSpPr txBox="1"/>
            <p:nvPr/>
          </p:nvSpPr>
          <p:spPr>
            <a:xfrm>
              <a:off x="4563862" y="3647908"/>
              <a:ext cx="665878" cy="367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914400">
                <a:defRPr/>
              </a:pPr>
              <a:r>
                <a:rPr lang="ru-RU" sz="3200" kern="0" spc="-100" dirty="0">
                  <a:solidFill>
                    <a:srgbClr val="293D6D">
                      <a:lumMod val="50000"/>
                    </a:srgbClr>
                  </a:solidFill>
                  <a:latin typeface="FavoritCondC" panose="02000506040000020004" pitchFamily="50" charset="-52"/>
                </a:rPr>
                <a:t>8,5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9DDFA270-5F38-9707-4392-72A5235891C5}"/>
                </a:ext>
              </a:extLst>
            </p:cNvPr>
            <p:cNvSpPr txBox="1"/>
            <p:nvPr/>
          </p:nvSpPr>
          <p:spPr>
            <a:xfrm>
              <a:off x="4487503" y="4138092"/>
              <a:ext cx="818596" cy="1526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lnSpc>
                  <a:spcPct val="70000"/>
                </a:lnSpc>
                <a:defRPr/>
              </a:pPr>
              <a:r>
                <a:rPr lang="ru-RU" sz="1400" kern="0" dirty="0">
                  <a:solidFill>
                    <a:srgbClr val="293D6D">
                      <a:lumMod val="50000"/>
                    </a:srgbClr>
                  </a:solidFill>
                  <a:latin typeface="FavoritLightCondC" panose="02000506030000020004" pitchFamily="50" charset="-52"/>
                </a:rPr>
                <a:t>млн тонн</a:t>
              </a:r>
            </a:p>
          </p:txBody>
        </p:sp>
      </p:grp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7CF38F0E-0065-21FA-C077-D8B488BB6ABD}"/>
              </a:ext>
            </a:extLst>
          </p:cNvPr>
          <p:cNvGrpSpPr/>
          <p:nvPr/>
        </p:nvGrpSpPr>
        <p:grpSpPr>
          <a:xfrm>
            <a:off x="3663465" y="3911441"/>
            <a:ext cx="778752" cy="809659"/>
            <a:chOff x="3182090" y="3245987"/>
            <a:chExt cx="818596" cy="790754"/>
          </a:xfrm>
        </p:grpSpPr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E8054E0B-3B42-ABCA-6AE9-431329C73C1F}"/>
                </a:ext>
              </a:extLst>
            </p:cNvPr>
            <p:cNvSpPr/>
            <p:nvPr/>
          </p:nvSpPr>
          <p:spPr>
            <a:xfrm>
              <a:off x="3196010" y="3245987"/>
              <a:ext cx="790756" cy="790754"/>
            </a:xfrm>
            <a:prstGeom prst="ellipse">
              <a:avLst/>
            </a:prstGeom>
            <a:solidFill>
              <a:srgbClr val="FFFFFF"/>
            </a:solidFill>
            <a:ln w="146050" cap="flat" cmpd="sng" algn="ctr">
              <a:solidFill>
                <a:srgbClr val="FFFFFF">
                  <a:alpha val="25000"/>
                </a:srgbClr>
              </a:solidFill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0" rIns="0" rtlCol="0" anchor="ctr"/>
            <a:lstStyle/>
            <a:p>
              <a:pPr algn="ctr" defTabSz="914400">
                <a:defRPr/>
              </a:pPr>
              <a:endParaRPr lang="ru-RU" sz="2000" b="1" kern="0" dirty="0">
                <a:solidFill>
                  <a:srgbClr val="293D6D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76A5D16-B6FB-55D3-BB80-8A51431F8542}"/>
                </a:ext>
              </a:extLst>
            </p:cNvPr>
            <p:cNvSpPr txBox="1"/>
            <p:nvPr/>
          </p:nvSpPr>
          <p:spPr>
            <a:xfrm>
              <a:off x="3258449" y="3336508"/>
              <a:ext cx="665878" cy="367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914400">
                <a:defRPr/>
              </a:pPr>
              <a:r>
                <a:rPr lang="ru-RU" sz="2800" kern="0" spc="-100" dirty="0">
                  <a:solidFill>
                    <a:srgbClr val="293D6D">
                      <a:lumMod val="50000"/>
                    </a:srgbClr>
                  </a:solidFill>
                  <a:latin typeface="FavoritCondC" panose="02000506040000020004" pitchFamily="50" charset="-52"/>
                </a:rPr>
                <a:t>7,6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C2C0C8E8-EE1E-9CE1-4310-B3A7541FBE43}"/>
                </a:ext>
              </a:extLst>
            </p:cNvPr>
            <p:cNvSpPr txBox="1"/>
            <p:nvPr/>
          </p:nvSpPr>
          <p:spPr>
            <a:xfrm>
              <a:off x="3182090" y="3766637"/>
              <a:ext cx="818596" cy="1526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lnSpc>
                  <a:spcPct val="70000"/>
                </a:lnSpc>
                <a:defRPr/>
              </a:pPr>
              <a:r>
                <a:rPr lang="ru-RU" sz="1400" kern="0" dirty="0">
                  <a:solidFill>
                    <a:srgbClr val="293D6D">
                      <a:lumMod val="50000"/>
                    </a:srgbClr>
                  </a:solidFill>
                  <a:latin typeface="FavoritLightCondC" panose="02000506030000020004" pitchFamily="50" charset="-52"/>
                </a:rPr>
                <a:t>млн тонн</a:t>
              </a: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21B4208B-13ED-D7DC-55B0-A12609457700}"/>
              </a:ext>
            </a:extLst>
          </p:cNvPr>
          <p:cNvGrpSpPr/>
          <p:nvPr/>
        </p:nvGrpSpPr>
        <p:grpSpPr>
          <a:xfrm>
            <a:off x="6577464" y="3280517"/>
            <a:ext cx="778752" cy="752330"/>
            <a:chOff x="5773872" y="2615062"/>
            <a:chExt cx="818596" cy="734764"/>
          </a:xfrm>
        </p:grpSpPr>
        <p:sp>
          <p:nvSpPr>
            <p:cNvPr id="22" name="Овал 21">
              <a:extLst>
                <a:ext uri="{FF2B5EF4-FFF2-40B4-BE49-F238E27FC236}">
                  <a16:creationId xmlns:a16="http://schemas.microsoft.com/office/drawing/2014/main" id="{68092066-6C31-A9AE-E2EC-2120841B4B85}"/>
                </a:ext>
              </a:extLst>
            </p:cNvPr>
            <p:cNvSpPr/>
            <p:nvPr/>
          </p:nvSpPr>
          <p:spPr>
            <a:xfrm>
              <a:off x="5815786" y="2615062"/>
              <a:ext cx="734768" cy="734764"/>
            </a:xfrm>
            <a:prstGeom prst="ellipse">
              <a:avLst/>
            </a:prstGeom>
            <a:solidFill>
              <a:srgbClr val="FFFFFF"/>
            </a:solidFill>
            <a:ln w="146050" cap="flat" cmpd="sng" algn="ctr">
              <a:solidFill>
                <a:srgbClr val="FFFFFF">
                  <a:alpha val="25000"/>
                </a:srgbClr>
              </a:solidFill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0" rIns="0" rtlCol="0" anchor="ctr"/>
            <a:lstStyle/>
            <a:p>
              <a:pPr algn="ctr" defTabSz="914400">
                <a:defRPr/>
              </a:pPr>
              <a:endParaRPr lang="ru-RU" sz="2000" b="1" kern="0" dirty="0">
                <a:solidFill>
                  <a:srgbClr val="293D6D">
                    <a:lumMod val="50000"/>
                  </a:srgbClr>
                </a:solidFill>
                <a:latin typeface="Arial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1674F2E-E4BF-614E-3075-A21C1433652F}"/>
                </a:ext>
              </a:extLst>
            </p:cNvPr>
            <p:cNvSpPr txBox="1"/>
            <p:nvPr/>
          </p:nvSpPr>
          <p:spPr>
            <a:xfrm>
              <a:off x="5850231" y="2665125"/>
              <a:ext cx="665878" cy="36777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914400">
                <a:defRPr/>
              </a:pPr>
              <a:r>
                <a:rPr lang="ru-RU" sz="2800" kern="0" spc="-100" dirty="0">
                  <a:solidFill>
                    <a:srgbClr val="293D6D">
                      <a:lumMod val="50000"/>
                    </a:srgbClr>
                  </a:solidFill>
                  <a:latin typeface="FavoritCondC" panose="02000506040000020004" pitchFamily="50" charset="-52"/>
                </a:rPr>
                <a:t>3,8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589D162-4130-5B15-6DA1-068DA66A051C}"/>
                </a:ext>
              </a:extLst>
            </p:cNvPr>
            <p:cNvSpPr txBox="1"/>
            <p:nvPr/>
          </p:nvSpPr>
          <p:spPr>
            <a:xfrm>
              <a:off x="5773872" y="3095254"/>
              <a:ext cx="818596" cy="1526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lnSpc>
                  <a:spcPct val="70000"/>
                </a:lnSpc>
                <a:defRPr/>
              </a:pPr>
              <a:r>
                <a:rPr lang="ru-RU" sz="1400" kern="0" dirty="0">
                  <a:solidFill>
                    <a:srgbClr val="293D6D">
                      <a:lumMod val="50000"/>
                    </a:srgbClr>
                  </a:solidFill>
                  <a:latin typeface="FavoritLightCondC" panose="02000506030000020004" pitchFamily="50" charset="-52"/>
                </a:rPr>
                <a:t>млн тонн</a:t>
              </a:r>
            </a:p>
          </p:txBody>
        </p:sp>
      </p:grp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6F451959-61C2-FF2C-6B5A-A1D2ED79C96E}"/>
              </a:ext>
            </a:extLst>
          </p:cNvPr>
          <p:cNvGrpSpPr/>
          <p:nvPr/>
        </p:nvGrpSpPr>
        <p:grpSpPr>
          <a:xfrm>
            <a:off x="2625484" y="4309765"/>
            <a:ext cx="470096" cy="505960"/>
            <a:chOff x="2407706" y="2601208"/>
            <a:chExt cx="616357" cy="616357"/>
          </a:xfrm>
        </p:grpSpPr>
        <p:sp>
          <p:nvSpPr>
            <p:cNvPr id="26" name="Овал 25">
              <a:extLst>
                <a:ext uri="{FF2B5EF4-FFF2-40B4-BE49-F238E27FC236}">
                  <a16:creationId xmlns:a16="http://schemas.microsoft.com/office/drawing/2014/main" id="{1CF884D3-9228-5656-0423-3969F5A7A919}"/>
                </a:ext>
              </a:extLst>
            </p:cNvPr>
            <p:cNvSpPr/>
            <p:nvPr/>
          </p:nvSpPr>
          <p:spPr>
            <a:xfrm>
              <a:off x="2407706" y="2601208"/>
              <a:ext cx="616357" cy="616357"/>
            </a:xfrm>
            <a:prstGeom prst="ellipse">
              <a:avLst/>
            </a:prstGeom>
            <a:solidFill>
              <a:srgbClr val="FFFFFF"/>
            </a:solidFill>
            <a:ln w="146050" cap="flat" cmpd="sng" algn="ctr">
              <a:solidFill>
                <a:srgbClr val="FFFFFF">
                  <a:alpha val="25000"/>
                </a:srgbClr>
              </a:solidFill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0" rIns="0" rtlCol="0" anchor="ctr"/>
            <a:lstStyle/>
            <a:p>
              <a:pPr algn="ctr" defTabSz="914400">
                <a:defRPr/>
              </a:pPr>
              <a:endParaRPr lang="ru-RU" sz="1050" b="1" kern="0" dirty="0">
                <a:solidFill>
                  <a:srgbClr val="293D6D"/>
                </a:solidFill>
                <a:latin typeface="Arial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87E3D29A-C396-1C51-AEDB-F84DAD80B353}"/>
                </a:ext>
              </a:extLst>
            </p:cNvPr>
            <p:cNvSpPr txBox="1"/>
            <p:nvPr/>
          </p:nvSpPr>
          <p:spPr>
            <a:xfrm>
              <a:off x="2492349" y="2639519"/>
              <a:ext cx="44707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914400">
                <a:defRPr/>
              </a:pPr>
              <a:r>
                <a:rPr lang="ru-RU" sz="1800" kern="0" spc="-100" dirty="0">
                  <a:solidFill>
                    <a:srgbClr val="293D6D"/>
                  </a:solidFill>
                  <a:latin typeface="FavoritCondC" panose="02000506040000020004" pitchFamily="50" charset="-52"/>
                </a:rPr>
                <a:t>0,1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D6DD09C8-5A80-E02D-6319-0F03CC30A03C}"/>
                </a:ext>
              </a:extLst>
            </p:cNvPr>
            <p:cNvSpPr txBox="1"/>
            <p:nvPr/>
          </p:nvSpPr>
          <p:spPr>
            <a:xfrm>
              <a:off x="2441082" y="2982769"/>
              <a:ext cx="549605" cy="1428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lnSpc>
                  <a:spcPct val="70000"/>
                </a:lnSpc>
                <a:defRPr/>
              </a:pPr>
              <a:r>
                <a:rPr lang="ru-RU" sz="1050" kern="0" dirty="0">
                  <a:solidFill>
                    <a:srgbClr val="293D6D"/>
                  </a:solidFill>
                  <a:latin typeface="FavoritLightCondC" panose="02000506030000020004" pitchFamily="50" charset="-52"/>
                </a:rPr>
                <a:t>млн тонн</a:t>
              </a:r>
            </a:p>
          </p:txBody>
        </p: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BC87F95F-23ED-CDFE-98DD-CE471D560F42}"/>
              </a:ext>
            </a:extLst>
          </p:cNvPr>
          <p:cNvGrpSpPr/>
          <p:nvPr/>
        </p:nvGrpSpPr>
        <p:grpSpPr>
          <a:xfrm>
            <a:off x="1894287" y="3833273"/>
            <a:ext cx="470096" cy="505960"/>
            <a:chOff x="2407706" y="2601208"/>
            <a:chExt cx="616357" cy="616357"/>
          </a:xfrm>
        </p:grpSpPr>
        <p:sp>
          <p:nvSpPr>
            <p:cNvPr id="30" name="Овал 29">
              <a:extLst>
                <a:ext uri="{FF2B5EF4-FFF2-40B4-BE49-F238E27FC236}">
                  <a16:creationId xmlns:a16="http://schemas.microsoft.com/office/drawing/2014/main" id="{44BA76D3-7383-30C6-6C16-91BC2A390906}"/>
                </a:ext>
              </a:extLst>
            </p:cNvPr>
            <p:cNvSpPr/>
            <p:nvPr/>
          </p:nvSpPr>
          <p:spPr>
            <a:xfrm>
              <a:off x="2407706" y="2601208"/>
              <a:ext cx="616357" cy="616357"/>
            </a:xfrm>
            <a:prstGeom prst="ellipse">
              <a:avLst/>
            </a:prstGeom>
            <a:solidFill>
              <a:srgbClr val="FFFFFF"/>
            </a:solidFill>
            <a:ln w="146050" cap="flat" cmpd="sng" algn="ctr">
              <a:solidFill>
                <a:srgbClr val="FFFFFF">
                  <a:alpha val="25000"/>
                </a:srgbClr>
              </a:solidFill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0" rIns="0" rtlCol="0" anchor="ctr"/>
            <a:lstStyle/>
            <a:p>
              <a:pPr algn="ctr" defTabSz="914400">
                <a:defRPr/>
              </a:pPr>
              <a:endParaRPr lang="ru-RU" sz="1050" b="1" kern="0" dirty="0">
                <a:solidFill>
                  <a:srgbClr val="293D6D"/>
                </a:solidFill>
                <a:latin typeface="Arial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E9AFC7A-58CF-1AD8-ADED-8FCD9A5FC759}"/>
                </a:ext>
              </a:extLst>
            </p:cNvPr>
            <p:cNvSpPr txBox="1"/>
            <p:nvPr/>
          </p:nvSpPr>
          <p:spPr>
            <a:xfrm>
              <a:off x="2492349" y="2639519"/>
              <a:ext cx="44707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914400">
                <a:defRPr/>
              </a:pPr>
              <a:r>
                <a:rPr lang="ru-RU" sz="1800" kern="0" spc="-50" dirty="0">
                  <a:solidFill>
                    <a:srgbClr val="293D6D"/>
                  </a:solidFill>
                  <a:latin typeface="FavoritCondC" panose="02000506040000020004" pitchFamily="50" charset="-52"/>
                </a:rPr>
                <a:t>0,7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392C04E7-DC95-99B5-F63B-FC780F222C59}"/>
                </a:ext>
              </a:extLst>
            </p:cNvPr>
            <p:cNvSpPr txBox="1"/>
            <p:nvPr/>
          </p:nvSpPr>
          <p:spPr>
            <a:xfrm>
              <a:off x="2441082" y="2982769"/>
              <a:ext cx="549605" cy="149560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lnSpc>
                  <a:spcPct val="70000"/>
                </a:lnSpc>
                <a:defRPr/>
              </a:pPr>
              <a:r>
                <a:rPr lang="ru-RU" sz="1100" kern="0" dirty="0">
                  <a:solidFill>
                    <a:srgbClr val="293D6D"/>
                  </a:solidFill>
                  <a:latin typeface="FavoritLightCondC" panose="02000506030000020004" pitchFamily="50" charset="-52"/>
                </a:rPr>
                <a:t>млн тонн</a:t>
              </a:r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1D7EAF41-5A50-1BD6-8016-3DDA42911056}"/>
              </a:ext>
            </a:extLst>
          </p:cNvPr>
          <p:cNvGrpSpPr/>
          <p:nvPr/>
        </p:nvGrpSpPr>
        <p:grpSpPr>
          <a:xfrm>
            <a:off x="2825637" y="3287239"/>
            <a:ext cx="561998" cy="596783"/>
            <a:chOff x="2407706" y="2601208"/>
            <a:chExt cx="616357" cy="616357"/>
          </a:xfrm>
        </p:grpSpPr>
        <p:sp>
          <p:nvSpPr>
            <p:cNvPr id="34" name="Овал 33">
              <a:extLst>
                <a:ext uri="{FF2B5EF4-FFF2-40B4-BE49-F238E27FC236}">
                  <a16:creationId xmlns:a16="http://schemas.microsoft.com/office/drawing/2014/main" id="{38FBB1FB-2AD9-3487-9704-A0BE87375479}"/>
                </a:ext>
              </a:extLst>
            </p:cNvPr>
            <p:cNvSpPr/>
            <p:nvPr/>
          </p:nvSpPr>
          <p:spPr>
            <a:xfrm>
              <a:off x="2407706" y="2601208"/>
              <a:ext cx="616357" cy="616357"/>
            </a:xfrm>
            <a:prstGeom prst="ellipse">
              <a:avLst/>
            </a:prstGeom>
            <a:solidFill>
              <a:srgbClr val="FFFFFF"/>
            </a:solidFill>
            <a:ln w="146050" cap="flat" cmpd="sng" algn="ctr">
              <a:solidFill>
                <a:srgbClr val="FFFFFF">
                  <a:alpha val="25000"/>
                </a:srgbClr>
              </a:solidFill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0" rIns="0" rtlCol="0" anchor="ctr"/>
            <a:lstStyle/>
            <a:p>
              <a:pPr algn="ctr" defTabSz="914400">
                <a:defRPr/>
              </a:pPr>
              <a:endParaRPr lang="ru-RU" sz="1050" b="1" kern="0" dirty="0">
                <a:solidFill>
                  <a:srgbClr val="293D6D"/>
                </a:solidFill>
                <a:latin typeface="Arial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D365B7F3-A1B7-A24A-E6E3-395871920618}"/>
                </a:ext>
              </a:extLst>
            </p:cNvPr>
            <p:cNvSpPr txBox="1"/>
            <p:nvPr/>
          </p:nvSpPr>
          <p:spPr>
            <a:xfrm>
              <a:off x="2469513" y="2607692"/>
              <a:ext cx="44707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914400">
                <a:defRPr/>
              </a:pPr>
              <a:r>
                <a:rPr lang="ru-RU" sz="1800" kern="0" spc="-50" dirty="0">
                  <a:solidFill>
                    <a:srgbClr val="293D6D"/>
                  </a:solidFill>
                  <a:latin typeface="FavoritCondC" panose="02000506040000020004" pitchFamily="50" charset="-52"/>
                </a:rPr>
                <a:t>0,5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3F129CC-4197-8B78-5EF5-CE34DE69CE35}"/>
                </a:ext>
              </a:extLst>
            </p:cNvPr>
            <p:cNvSpPr txBox="1"/>
            <p:nvPr/>
          </p:nvSpPr>
          <p:spPr>
            <a:xfrm>
              <a:off x="2441082" y="2982769"/>
              <a:ext cx="549605" cy="1428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lnSpc>
                  <a:spcPct val="70000"/>
                </a:lnSpc>
                <a:defRPr/>
              </a:pPr>
              <a:r>
                <a:rPr lang="ru-RU" sz="1050" kern="0" dirty="0">
                  <a:solidFill>
                    <a:srgbClr val="293D6D"/>
                  </a:solidFill>
                  <a:latin typeface="FavoritLightCondC" panose="02000506030000020004" pitchFamily="50" charset="-52"/>
                </a:rPr>
                <a:t>млн тонн</a:t>
              </a: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7B91E135-1839-0EC5-EFA0-745508A538CD}"/>
              </a:ext>
            </a:extLst>
          </p:cNvPr>
          <p:cNvGrpSpPr/>
          <p:nvPr/>
        </p:nvGrpSpPr>
        <p:grpSpPr>
          <a:xfrm>
            <a:off x="1670591" y="4738362"/>
            <a:ext cx="470096" cy="505960"/>
            <a:chOff x="2407706" y="2601208"/>
            <a:chExt cx="616357" cy="616357"/>
          </a:xfrm>
        </p:grpSpPr>
        <p:sp>
          <p:nvSpPr>
            <p:cNvPr id="38" name="Овал 37">
              <a:extLst>
                <a:ext uri="{FF2B5EF4-FFF2-40B4-BE49-F238E27FC236}">
                  <a16:creationId xmlns:a16="http://schemas.microsoft.com/office/drawing/2014/main" id="{7A861992-368D-D73C-4E2C-DDE41E62EABB}"/>
                </a:ext>
              </a:extLst>
            </p:cNvPr>
            <p:cNvSpPr/>
            <p:nvPr/>
          </p:nvSpPr>
          <p:spPr>
            <a:xfrm>
              <a:off x="2407706" y="2601208"/>
              <a:ext cx="616357" cy="616357"/>
            </a:xfrm>
            <a:prstGeom prst="ellipse">
              <a:avLst/>
            </a:prstGeom>
            <a:solidFill>
              <a:srgbClr val="FFFFFF"/>
            </a:solidFill>
            <a:ln w="146050" cap="flat" cmpd="sng" algn="ctr">
              <a:solidFill>
                <a:srgbClr val="FFFFFF">
                  <a:alpha val="25000"/>
                </a:srgbClr>
              </a:solidFill>
              <a:prstDash val="solid"/>
              <a:miter lim="800000"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lIns="0" rIns="0" rtlCol="0" anchor="ctr"/>
            <a:lstStyle/>
            <a:p>
              <a:pPr algn="ctr" defTabSz="914400">
                <a:defRPr/>
              </a:pPr>
              <a:endParaRPr lang="ru-RU" sz="1050" b="1" kern="0" dirty="0">
                <a:solidFill>
                  <a:srgbClr val="293D6D"/>
                </a:solidFill>
                <a:latin typeface="Arial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936F43DC-D47F-8E7B-C68E-6AE9832E38E6}"/>
                </a:ext>
              </a:extLst>
            </p:cNvPr>
            <p:cNvSpPr txBox="1"/>
            <p:nvPr/>
          </p:nvSpPr>
          <p:spPr>
            <a:xfrm>
              <a:off x="2492349" y="2639519"/>
              <a:ext cx="44707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 defTabSz="914400">
                <a:defRPr/>
              </a:pPr>
              <a:r>
                <a:rPr lang="ru-RU" sz="1800" kern="0" spc="-50" dirty="0">
                  <a:solidFill>
                    <a:srgbClr val="293D6D"/>
                  </a:solidFill>
                  <a:latin typeface="FavoritCondC" panose="02000506040000020004" pitchFamily="50" charset="-52"/>
                </a:rPr>
                <a:t>0,8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957AD485-4C86-F53B-87F8-DE92124BD0BA}"/>
                </a:ext>
              </a:extLst>
            </p:cNvPr>
            <p:cNvSpPr txBox="1"/>
            <p:nvPr/>
          </p:nvSpPr>
          <p:spPr>
            <a:xfrm>
              <a:off x="2441082" y="2982769"/>
              <a:ext cx="549605" cy="1428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 defTabSz="914400">
                <a:lnSpc>
                  <a:spcPct val="70000"/>
                </a:lnSpc>
                <a:defRPr/>
              </a:pPr>
              <a:r>
                <a:rPr lang="ru-RU" sz="1050" kern="0" dirty="0">
                  <a:solidFill>
                    <a:srgbClr val="293D6D"/>
                  </a:solidFill>
                  <a:latin typeface="FavoritLightCondC" panose="02000506030000020004" pitchFamily="50" charset="-52"/>
                </a:rPr>
                <a:t>млн тонн</a:t>
              </a:r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2456716E-B44E-9F06-931B-95A5E79E1C19}"/>
              </a:ext>
            </a:extLst>
          </p:cNvPr>
          <p:cNvGrpSpPr/>
          <p:nvPr/>
        </p:nvGrpSpPr>
        <p:grpSpPr>
          <a:xfrm>
            <a:off x="529512" y="1873013"/>
            <a:ext cx="2083059" cy="1079192"/>
            <a:chOff x="477261" y="1179330"/>
            <a:chExt cx="2201106" cy="1033695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59CA9D0-4225-6E86-24AF-EF3791BCC0C6}"/>
                </a:ext>
              </a:extLst>
            </p:cNvPr>
            <p:cNvSpPr txBox="1"/>
            <p:nvPr/>
          </p:nvSpPr>
          <p:spPr>
            <a:xfrm>
              <a:off x="728526" y="1179330"/>
              <a:ext cx="665878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r" defTabSz="914400"/>
              <a:r>
                <a:rPr lang="ru-RU" sz="4400" b="1" spc="-100" dirty="0">
                  <a:solidFill>
                    <a:srgbClr val="293D6D"/>
                  </a:solidFill>
                  <a:latin typeface="Arial"/>
                </a:rPr>
                <a:t>22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BAC382C5-07A9-7F28-298D-2B349D44F3BA}"/>
                </a:ext>
              </a:extLst>
            </p:cNvPr>
            <p:cNvSpPr txBox="1"/>
            <p:nvPr/>
          </p:nvSpPr>
          <p:spPr>
            <a:xfrm>
              <a:off x="1444764" y="1552775"/>
              <a:ext cx="1117511" cy="19800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400">
                <a:lnSpc>
                  <a:spcPct val="70000"/>
                </a:lnSpc>
              </a:pPr>
              <a:r>
                <a:rPr lang="ru-RU" sz="1800" b="1" dirty="0">
                  <a:solidFill>
                    <a:srgbClr val="293D6D"/>
                  </a:solidFill>
                  <a:latin typeface="Arial"/>
                </a:rPr>
                <a:t>млн тонн</a:t>
              </a:r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29F2E8D1-6DF6-5BF9-57BE-7E10221E0D35}"/>
                </a:ext>
              </a:extLst>
            </p:cNvPr>
            <p:cNvSpPr/>
            <p:nvPr/>
          </p:nvSpPr>
          <p:spPr>
            <a:xfrm>
              <a:off x="477261" y="1341863"/>
              <a:ext cx="340158" cy="4616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914400"/>
              <a:r>
                <a:rPr lang="ru-RU" sz="2400" b="1" spc="-100" dirty="0">
                  <a:solidFill>
                    <a:srgbClr val="293D6D"/>
                  </a:solidFill>
                  <a:latin typeface="Arial"/>
                </a:rPr>
                <a:t>≈</a:t>
              </a:r>
              <a:endParaRPr lang="ru-RU" sz="2400" b="1" dirty="0">
                <a:solidFill>
                  <a:srgbClr val="293D6D"/>
                </a:solidFill>
                <a:latin typeface="Arial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3C8A8131-A124-E1DB-4382-4A0484603D7B}"/>
                </a:ext>
              </a:extLst>
            </p:cNvPr>
            <p:cNvSpPr txBox="1"/>
            <p:nvPr/>
          </p:nvSpPr>
          <p:spPr>
            <a:xfrm>
              <a:off x="541888" y="1782138"/>
              <a:ext cx="2136479" cy="43088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defTabSz="914400"/>
              <a:r>
                <a:rPr lang="ru-RU" sz="1400" dirty="0">
                  <a:solidFill>
                    <a:srgbClr val="293D6D"/>
                  </a:solidFill>
                  <a:latin typeface="Arial"/>
                </a:rPr>
                <a:t>ежегодная выработка ЗШО в России</a:t>
              </a:r>
            </a:p>
          </p:txBody>
        </p:sp>
      </p:grpSp>
      <p:grpSp>
        <p:nvGrpSpPr>
          <p:cNvPr id="51" name="Group 17">
            <a:extLst>
              <a:ext uri="{FF2B5EF4-FFF2-40B4-BE49-F238E27FC236}">
                <a16:creationId xmlns:a16="http://schemas.microsoft.com/office/drawing/2014/main" id="{D9B0AFBC-FCE9-3778-9D61-F38A10BB188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80181" y="2060907"/>
            <a:ext cx="436345" cy="519584"/>
            <a:chOff x="1983" y="524"/>
            <a:chExt cx="1819" cy="2166"/>
          </a:xfrm>
          <a:solidFill>
            <a:srgbClr val="293D6D"/>
          </a:solidFill>
        </p:grpSpPr>
        <p:sp>
          <p:nvSpPr>
            <p:cNvPr id="52" name="Freeform 18">
              <a:extLst>
                <a:ext uri="{FF2B5EF4-FFF2-40B4-BE49-F238E27FC236}">
                  <a16:creationId xmlns:a16="http://schemas.microsoft.com/office/drawing/2014/main" id="{C4D343D9-E96D-6FDA-B5FE-07D1CCBB83EE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3" y="524"/>
              <a:ext cx="1669" cy="1039"/>
            </a:xfrm>
            <a:custGeom>
              <a:avLst/>
              <a:gdLst>
                <a:gd name="T0" fmla="*/ 228 w 701"/>
                <a:gd name="T1" fmla="*/ 436 h 437"/>
                <a:gd name="T2" fmla="*/ 119 w 701"/>
                <a:gd name="T3" fmla="*/ 436 h 437"/>
                <a:gd name="T4" fmla="*/ 15 w 701"/>
                <a:gd name="T5" fmla="*/ 364 h 437"/>
                <a:gd name="T6" fmla="*/ 52 w 701"/>
                <a:gd name="T7" fmla="*/ 245 h 437"/>
                <a:gd name="T8" fmla="*/ 64 w 701"/>
                <a:gd name="T9" fmla="*/ 225 h 437"/>
                <a:gd name="T10" fmla="*/ 168 w 701"/>
                <a:gd name="T11" fmla="*/ 122 h 437"/>
                <a:gd name="T12" fmla="*/ 186 w 701"/>
                <a:gd name="T13" fmla="*/ 111 h 437"/>
                <a:gd name="T14" fmla="*/ 274 w 701"/>
                <a:gd name="T15" fmla="*/ 66 h 437"/>
                <a:gd name="T16" fmla="*/ 293 w 701"/>
                <a:gd name="T17" fmla="*/ 56 h 437"/>
                <a:gd name="T18" fmla="*/ 459 w 701"/>
                <a:gd name="T19" fmla="*/ 55 h 437"/>
                <a:gd name="T20" fmla="*/ 504 w 701"/>
                <a:gd name="T21" fmla="*/ 55 h 437"/>
                <a:gd name="T22" fmla="*/ 637 w 701"/>
                <a:gd name="T23" fmla="*/ 28 h 437"/>
                <a:gd name="T24" fmla="*/ 689 w 701"/>
                <a:gd name="T25" fmla="*/ 146 h 437"/>
                <a:gd name="T26" fmla="*/ 587 w 701"/>
                <a:gd name="T27" fmla="*/ 225 h 437"/>
                <a:gd name="T28" fmla="*/ 565 w 701"/>
                <a:gd name="T29" fmla="*/ 236 h 437"/>
                <a:gd name="T30" fmla="*/ 492 w 701"/>
                <a:gd name="T31" fmla="*/ 277 h 437"/>
                <a:gd name="T32" fmla="*/ 474 w 701"/>
                <a:gd name="T33" fmla="*/ 291 h 437"/>
                <a:gd name="T34" fmla="*/ 469 w 701"/>
                <a:gd name="T35" fmla="*/ 306 h 437"/>
                <a:gd name="T36" fmla="*/ 412 w 701"/>
                <a:gd name="T37" fmla="*/ 402 h 437"/>
                <a:gd name="T38" fmla="*/ 344 w 701"/>
                <a:gd name="T39" fmla="*/ 436 h 437"/>
                <a:gd name="T40" fmla="*/ 228 w 701"/>
                <a:gd name="T41" fmla="*/ 437 h 437"/>
                <a:gd name="T42" fmla="*/ 228 w 701"/>
                <a:gd name="T43" fmla="*/ 436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01" h="437">
                  <a:moveTo>
                    <a:pt x="228" y="436"/>
                  </a:moveTo>
                  <a:cubicBezTo>
                    <a:pt x="192" y="436"/>
                    <a:pt x="155" y="437"/>
                    <a:pt x="119" y="436"/>
                  </a:cubicBezTo>
                  <a:cubicBezTo>
                    <a:pt x="68" y="436"/>
                    <a:pt x="30" y="409"/>
                    <a:pt x="15" y="364"/>
                  </a:cubicBezTo>
                  <a:cubicBezTo>
                    <a:pt x="0" y="319"/>
                    <a:pt x="13" y="277"/>
                    <a:pt x="52" y="245"/>
                  </a:cubicBezTo>
                  <a:cubicBezTo>
                    <a:pt x="57" y="240"/>
                    <a:pt x="62" y="232"/>
                    <a:pt x="64" y="225"/>
                  </a:cubicBezTo>
                  <a:cubicBezTo>
                    <a:pt x="77" y="169"/>
                    <a:pt x="112" y="135"/>
                    <a:pt x="168" y="122"/>
                  </a:cubicBezTo>
                  <a:cubicBezTo>
                    <a:pt x="175" y="120"/>
                    <a:pt x="182" y="116"/>
                    <a:pt x="186" y="111"/>
                  </a:cubicBezTo>
                  <a:cubicBezTo>
                    <a:pt x="208" y="82"/>
                    <a:pt x="237" y="68"/>
                    <a:pt x="274" y="66"/>
                  </a:cubicBezTo>
                  <a:cubicBezTo>
                    <a:pt x="280" y="66"/>
                    <a:pt x="288" y="61"/>
                    <a:pt x="293" y="56"/>
                  </a:cubicBezTo>
                  <a:cubicBezTo>
                    <a:pt x="338" y="1"/>
                    <a:pt x="413" y="0"/>
                    <a:pt x="459" y="55"/>
                  </a:cubicBezTo>
                  <a:cubicBezTo>
                    <a:pt x="473" y="72"/>
                    <a:pt x="490" y="72"/>
                    <a:pt x="504" y="55"/>
                  </a:cubicBezTo>
                  <a:cubicBezTo>
                    <a:pt x="538" y="14"/>
                    <a:pt x="590" y="3"/>
                    <a:pt x="637" y="28"/>
                  </a:cubicBezTo>
                  <a:cubicBezTo>
                    <a:pt x="680" y="50"/>
                    <a:pt x="701" y="98"/>
                    <a:pt x="689" y="146"/>
                  </a:cubicBezTo>
                  <a:cubicBezTo>
                    <a:pt x="678" y="190"/>
                    <a:pt x="636" y="222"/>
                    <a:pt x="587" y="225"/>
                  </a:cubicBezTo>
                  <a:cubicBezTo>
                    <a:pt x="580" y="225"/>
                    <a:pt x="570" y="230"/>
                    <a:pt x="565" y="236"/>
                  </a:cubicBezTo>
                  <a:cubicBezTo>
                    <a:pt x="545" y="259"/>
                    <a:pt x="522" y="274"/>
                    <a:pt x="492" y="277"/>
                  </a:cubicBezTo>
                  <a:cubicBezTo>
                    <a:pt x="481" y="278"/>
                    <a:pt x="476" y="282"/>
                    <a:pt x="474" y="291"/>
                  </a:cubicBezTo>
                  <a:cubicBezTo>
                    <a:pt x="473" y="297"/>
                    <a:pt x="471" y="302"/>
                    <a:pt x="469" y="306"/>
                  </a:cubicBezTo>
                  <a:cubicBezTo>
                    <a:pt x="448" y="338"/>
                    <a:pt x="427" y="368"/>
                    <a:pt x="412" y="402"/>
                  </a:cubicBezTo>
                  <a:cubicBezTo>
                    <a:pt x="401" y="429"/>
                    <a:pt x="373" y="436"/>
                    <a:pt x="344" y="436"/>
                  </a:cubicBezTo>
                  <a:cubicBezTo>
                    <a:pt x="306" y="437"/>
                    <a:pt x="267" y="437"/>
                    <a:pt x="228" y="437"/>
                  </a:cubicBezTo>
                  <a:cubicBezTo>
                    <a:pt x="228" y="436"/>
                    <a:pt x="228" y="436"/>
                    <a:pt x="228" y="4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3" name="Freeform 19">
              <a:extLst>
                <a:ext uri="{FF2B5EF4-FFF2-40B4-BE49-F238E27FC236}">
                  <a16:creationId xmlns:a16="http://schemas.microsoft.com/office/drawing/2014/main" id="{A9D73A4B-1FD1-29B1-9E9F-F15EB7546A5B}"/>
                </a:ext>
              </a:extLst>
            </p:cNvPr>
            <p:cNvSpPr>
              <a:spLocks/>
            </p:cNvSpPr>
            <p:nvPr/>
          </p:nvSpPr>
          <p:spPr bwMode="auto">
            <a:xfrm>
              <a:off x="2183" y="1675"/>
              <a:ext cx="940" cy="637"/>
            </a:xfrm>
            <a:custGeom>
              <a:avLst/>
              <a:gdLst>
                <a:gd name="T0" fmla="*/ 40 w 395"/>
                <a:gd name="T1" fmla="*/ 0 h 268"/>
                <a:gd name="T2" fmla="*/ 356 w 395"/>
                <a:gd name="T3" fmla="*/ 5 h 268"/>
                <a:gd name="T4" fmla="*/ 395 w 395"/>
                <a:gd name="T5" fmla="*/ 268 h 268"/>
                <a:gd name="T6" fmla="*/ 0 w 395"/>
                <a:gd name="T7" fmla="*/ 268 h 268"/>
                <a:gd name="T8" fmla="*/ 40 w 395"/>
                <a:gd name="T9" fmla="*/ 0 h 2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5" h="268">
                  <a:moveTo>
                    <a:pt x="40" y="0"/>
                  </a:moveTo>
                  <a:cubicBezTo>
                    <a:pt x="146" y="10"/>
                    <a:pt x="250" y="2"/>
                    <a:pt x="356" y="5"/>
                  </a:cubicBezTo>
                  <a:cubicBezTo>
                    <a:pt x="353" y="93"/>
                    <a:pt x="361" y="182"/>
                    <a:pt x="395" y="268"/>
                  </a:cubicBezTo>
                  <a:cubicBezTo>
                    <a:pt x="262" y="268"/>
                    <a:pt x="133" y="268"/>
                    <a:pt x="0" y="268"/>
                  </a:cubicBezTo>
                  <a:cubicBezTo>
                    <a:pt x="34" y="181"/>
                    <a:pt x="43" y="90"/>
                    <a:pt x="4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4" name="Freeform 20">
              <a:extLst>
                <a:ext uri="{FF2B5EF4-FFF2-40B4-BE49-F238E27FC236}">
                  <a16:creationId xmlns:a16="http://schemas.microsoft.com/office/drawing/2014/main" id="{046EF64A-D14E-6E71-9EF7-2D0DA3D1A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83" y="2441"/>
              <a:ext cx="1342" cy="245"/>
            </a:xfrm>
            <a:custGeom>
              <a:avLst/>
              <a:gdLst>
                <a:gd name="T0" fmla="*/ 0 w 564"/>
                <a:gd name="T1" fmla="*/ 103 h 103"/>
                <a:gd name="T2" fmla="*/ 57 w 564"/>
                <a:gd name="T3" fmla="*/ 6 h 103"/>
                <a:gd name="T4" fmla="*/ 75 w 564"/>
                <a:gd name="T5" fmla="*/ 0 h 103"/>
                <a:gd name="T6" fmla="*/ 490 w 564"/>
                <a:gd name="T7" fmla="*/ 0 h 103"/>
                <a:gd name="T8" fmla="*/ 507 w 564"/>
                <a:gd name="T9" fmla="*/ 8 h 103"/>
                <a:gd name="T10" fmla="*/ 564 w 564"/>
                <a:gd name="T11" fmla="*/ 103 h 103"/>
                <a:gd name="T12" fmla="*/ 0 w 564"/>
                <a:gd name="T13" fmla="*/ 103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4" h="103">
                  <a:moveTo>
                    <a:pt x="0" y="103"/>
                  </a:moveTo>
                  <a:cubicBezTo>
                    <a:pt x="19" y="70"/>
                    <a:pt x="38" y="38"/>
                    <a:pt x="57" y="6"/>
                  </a:cubicBezTo>
                  <a:cubicBezTo>
                    <a:pt x="60" y="2"/>
                    <a:pt x="69" y="0"/>
                    <a:pt x="75" y="0"/>
                  </a:cubicBezTo>
                  <a:cubicBezTo>
                    <a:pt x="213" y="0"/>
                    <a:pt x="352" y="0"/>
                    <a:pt x="490" y="0"/>
                  </a:cubicBezTo>
                  <a:cubicBezTo>
                    <a:pt x="496" y="0"/>
                    <a:pt x="504" y="3"/>
                    <a:pt x="507" y="8"/>
                  </a:cubicBezTo>
                  <a:cubicBezTo>
                    <a:pt x="526" y="38"/>
                    <a:pt x="544" y="70"/>
                    <a:pt x="564" y="103"/>
                  </a:cubicBezTo>
                  <a:cubicBezTo>
                    <a:pt x="376" y="103"/>
                    <a:pt x="189" y="103"/>
                    <a:pt x="0" y="10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5" name="Freeform 21">
              <a:extLst>
                <a:ext uri="{FF2B5EF4-FFF2-40B4-BE49-F238E27FC236}">
                  <a16:creationId xmlns:a16="http://schemas.microsoft.com/office/drawing/2014/main" id="{26919191-2333-B393-F1BE-52B52B5C78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9" y="1813"/>
              <a:ext cx="560" cy="877"/>
            </a:xfrm>
            <a:custGeom>
              <a:avLst/>
              <a:gdLst>
                <a:gd name="T0" fmla="*/ 0 w 235"/>
                <a:gd name="T1" fmla="*/ 0 h 369"/>
                <a:gd name="T2" fmla="*/ 106 w 235"/>
                <a:gd name="T3" fmla="*/ 0 h 369"/>
                <a:gd name="T4" fmla="*/ 235 w 235"/>
                <a:gd name="T5" fmla="*/ 368 h 369"/>
                <a:gd name="T6" fmla="*/ 146 w 235"/>
                <a:gd name="T7" fmla="*/ 368 h 369"/>
                <a:gd name="T8" fmla="*/ 136 w 235"/>
                <a:gd name="T9" fmla="*/ 362 h 369"/>
                <a:gd name="T10" fmla="*/ 12 w 235"/>
                <a:gd name="T11" fmla="*/ 99 h 369"/>
                <a:gd name="T12" fmla="*/ 0 w 235"/>
                <a:gd name="T13" fmla="*/ 0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5" h="369">
                  <a:moveTo>
                    <a:pt x="0" y="0"/>
                  </a:moveTo>
                  <a:cubicBezTo>
                    <a:pt x="38" y="0"/>
                    <a:pt x="71" y="0"/>
                    <a:pt x="106" y="0"/>
                  </a:cubicBezTo>
                  <a:cubicBezTo>
                    <a:pt x="110" y="136"/>
                    <a:pt x="152" y="257"/>
                    <a:pt x="235" y="368"/>
                  </a:cubicBezTo>
                  <a:cubicBezTo>
                    <a:pt x="202" y="368"/>
                    <a:pt x="174" y="369"/>
                    <a:pt x="146" y="368"/>
                  </a:cubicBezTo>
                  <a:cubicBezTo>
                    <a:pt x="142" y="368"/>
                    <a:pt x="138" y="365"/>
                    <a:pt x="136" y="362"/>
                  </a:cubicBezTo>
                  <a:cubicBezTo>
                    <a:pt x="79" y="282"/>
                    <a:pt x="29" y="199"/>
                    <a:pt x="12" y="99"/>
                  </a:cubicBezTo>
                  <a:cubicBezTo>
                    <a:pt x="7" y="68"/>
                    <a:pt x="4" y="3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</p:grpSp>
      <p:sp>
        <p:nvSpPr>
          <p:cNvPr id="56" name="Текст 7">
            <a:extLst>
              <a:ext uri="{FF2B5EF4-FFF2-40B4-BE49-F238E27FC236}">
                <a16:creationId xmlns:a16="http://schemas.microsoft.com/office/drawing/2014/main" id="{5E4C1049-914B-7690-277E-B3ED7DE29AF6}"/>
              </a:ext>
            </a:extLst>
          </p:cNvPr>
          <p:cNvSpPr txBox="1">
            <a:spLocks/>
          </p:cNvSpPr>
          <p:nvPr/>
        </p:nvSpPr>
        <p:spPr>
          <a:xfrm>
            <a:off x="9802953" y="2039371"/>
            <a:ext cx="2487353" cy="55637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80000"/>
              </a:lnSpc>
              <a:spcBef>
                <a:spcPts val="0"/>
              </a:spcBef>
              <a:defRPr/>
            </a:pPr>
            <a:r>
              <a:rPr lang="ru-RU" sz="1600" dirty="0">
                <a:solidFill>
                  <a:srgbClr val="293D6D"/>
                </a:solidFill>
              </a:rPr>
              <a:t>≥</a:t>
            </a:r>
            <a:r>
              <a:rPr lang="ru-RU" sz="2000" dirty="0">
                <a:solidFill>
                  <a:srgbClr val="293D6D"/>
                </a:solidFill>
              </a:rPr>
              <a:t> 170</a:t>
            </a:r>
            <a:r>
              <a:rPr lang="ru-RU" sz="1400" dirty="0">
                <a:solidFill>
                  <a:srgbClr val="293D6D"/>
                </a:solidFill>
              </a:rPr>
              <a:t> ТЭС</a:t>
            </a:r>
            <a:r>
              <a:rPr lang="ru-RU" dirty="0">
                <a:solidFill>
                  <a:srgbClr val="293D6D"/>
                </a:solidFill>
              </a:rPr>
              <a:t>, </a:t>
            </a:r>
          </a:p>
          <a:p>
            <a:pPr>
              <a:lnSpc>
                <a:spcPct val="50000"/>
              </a:lnSpc>
              <a:spcBef>
                <a:spcPts val="0"/>
              </a:spcBef>
              <a:defRPr/>
            </a:pPr>
            <a:r>
              <a:rPr lang="ru-RU" dirty="0">
                <a:solidFill>
                  <a:srgbClr val="293D6D"/>
                </a:solidFill>
              </a:rPr>
              <a:t>∑ мощностью</a:t>
            </a:r>
            <a:r>
              <a:rPr lang="ru-RU" sz="1600" dirty="0">
                <a:solidFill>
                  <a:srgbClr val="293D6D"/>
                </a:solidFill>
              </a:rPr>
              <a:t> </a:t>
            </a:r>
            <a:r>
              <a:rPr lang="ru-RU" sz="2000" dirty="0">
                <a:solidFill>
                  <a:srgbClr val="293D6D"/>
                </a:solidFill>
              </a:rPr>
              <a:t>44,9 </a:t>
            </a:r>
            <a:r>
              <a:rPr lang="ru-RU" sz="1600" dirty="0">
                <a:solidFill>
                  <a:srgbClr val="293D6D"/>
                </a:solidFill>
              </a:rPr>
              <a:t>ГВт</a:t>
            </a:r>
          </a:p>
          <a:p>
            <a:pPr>
              <a:lnSpc>
                <a:spcPct val="100000"/>
              </a:lnSpc>
              <a:spcBef>
                <a:spcPts val="0"/>
              </a:spcBef>
              <a:defRPr/>
            </a:pPr>
            <a:r>
              <a:rPr lang="ru-RU" dirty="0">
                <a:solidFill>
                  <a:srgbClr val="333333"/>
                </a:solidFill>
              </a:rPr>
              <a:t>работают на угле</a:t>
            </a:r>
          </a:p>
        </p:txBody>
      </p:sp>
      <p:grpSp>
        <p:nvGrpSpPr>
          <p:cNvPr id="57" name="Group 34">
            <a:extLst>
              <a:ext uri="{FF2B5EF4-FFF2-40B4-BE49-F238E27FC236}">
                <a16:creationId xmlns:a16="http://schemas.microsoft.com/office/drawing/2014/main" id="{3602293D-5CE8-8FC6-ED15-DA07C40F3D8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292727" y="2843050"/>
            <a:ext cx="421613" cy="259909"/>
            <a:chOff x="1811" y="940"/>
            <a:chExt cx="2138" cy="1318"/>
          </a:xfrm>
          <a:solidFill>
            <a:srgbClr val="293D6D"/>
          </a:solidFill>
        </p:grpSpPr>
        <p:sp>
          <p:nvSpPr>
            <p:cNvPr id="58" name="Freeform 35">
              <a:extLst>
                <a:ext uri="{FF2B5EF4-FFF2-40B4-BE49-F238E27FC236}">
                  <a16:creationId xmlns:a16="http://schemas.microsoft.com/office/drawing/2014/main" id="{75CBD4A9-26C4-6046-920F-A71C539F34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11" y="940"/>
              <a:ext cx="2138" cy="1318"/>
            </a:xfrm>
            <a:custGeom>
              <a:avLst/>
              <a:gdLst>
                <a:gd name="T0" fmla="*/ 538 w 899"/>
                <a:gd name="T1" fmla="*/ 300 h 553"/>
                <a:gd name="T2" fmla="*/ 552 w 899"/>
                <a:gd name="T3" fmla="*/ 300 h 553"/>
                <a:gd name="T4" fmla="*/ 615 w 899"/>
                <a:gd name="T5" fmla="*/ 216 h 553"/>
                <a:gd name="T6" fmla="*/ 709 w 899"/>
                <a:gd name="T7" fmla="*/ 235 h 553"/>
                <a:gd name="T8" fmla="*/ 843 w 899"/>
                <a:gd name="T9" fmla="*/ 493 h 553"/>
                <a:gd name="T10" fmla="*/ 873 w 899"/>
                <a:gd name="T11" fmla="*/ 512 h 553"/>
                <a:gd name="T12" fmla="*/ 899 w 899"/>
                <a:gd name="T13" fmla="*/ 533 h 553"/>
                <a:gd name="T14" fmla="*/ 870 w 899"/>
                <a:gd name="T15" fmla="*/ 553 h 553"/>
                <a:gd name="T16" fmla="*/ 481 w 899"/>
                <a:gd name="T17" fmla="*/ 553 h 553"/>
                <a:gd name="T18" fmla="*/ 37 w 899"/>
                <a:gd name="T19" fmla="*/ 553 h 553"/>
                <a:gd name="T20" fmla="*/ 23 w 899"/>
                <a:gd name="T21" fmla="*/ 553 h 553"/>
                <a:gd name="T22" fmla="*/ 2 w 899"/>
                <a:gd name="T23" fmla="*/ 534 h 553"/>
                <a:gd name="T24" fmla="*/ 20 w 899"/>
                <a:gd name="T25" fmla="*/ 513 h 553"/>
                <a:gd name="T26" fmla="*/ 61 w 899"/>
                <a:gd name="T27" fmla="*/ 480 h 553"/>
                <a:gd name="T28" fmla="*/ 248 w 899"/>
                <a:gd name="T29" fmla="*/ 75 h 553"/>
                <a:gd name="T30" fmla="*/ 389 w 899"/>
                <a:gd name="T31" fmla="*/ 56 h 553"/>
                <a:gd name="T32" fmla="*/ 531 w 899"/>
                <a:gd name="T33" fmla="*/ 290 h 553"/>
                <a:gd name="T34" fmla="*/ 538 w 899"/>
                <a:gd name="T35" fmla="*/ 300 h 553"/>
                <a:gd name="T36" fmla="*/ 287 w 899"/>
                <a:gd name="T37" fmla="*/ 121 h 553"/>
                <a:gd name="T38" fmla="*/ 100 w 899"/>
                <a:gd name="T39" fmla="*/ 497 h 553"/>
                <a:gd name="T40" fmla="*/ 108 w 899"/>
                <a:gd name="T41" fmla="*/ 509 h 553"/>
                <a:gd name="T42" fmla="*/ 790 w 899"/>
                <a:gd name="T43" fmla="*/ 509 h 553"/>
                <a:gd name="T44" fmla="*/ 798 w 899"/>
                <a:gd name="T45" fmla="*/ 496 h 553"/>
                <a:gd name="T46" fmla="*/ 708 w 899"/>
                <a:gd name="T47" fmla="*/ 335 h 553"/>
                <a:gd name="T48" fmla="*/ 585 w 899"/>
                <a:gd name="T49" fmla="*/ 326 h 553"/>
                <a:gd name="T50" fmla="*/ 565 w 899"/>
                <a:gd name="T51" fmla="*/ 352 h 553"/>
                <a:gd name="T52" fmla="*/ 521 w 899"/>
                <a:gd name="T53" fmla="*/ 351 h 553"/>
                <a:gd name="T54" fmla="*/ 397 w 899"/>
                <a:gd name="T55" fmla="*/ 164 h 553"/>
                <a:gd name="T56" fmla="*/ 365 w 899"/>
                <a:gd name="T57" fmla="*/ 116 h 553"/>
                <a:gd name="T58" fmla="*/ 287 w 899"/>
                <a:gd name="T59" fmla="*/ 121 h 5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99" h="553">
                  <a:moveTo>
                    <a:pt x="538" y="300"/>
                  </a:moveTo>
                  <a:cubicBezTo>
                    <a:pt x="541" y="305"/>
                    <a:pt x="548" y="305"/>
                    <a:pt x="552" y="300"/>
                  </a:cubicBezTo>
                  <a:cubicBezTo>
                    <a:pt x="577" y="267"/>
                    <a:pt x="592" y="247"/>
                    <a:pt x="615" y="216"/>
                  </a:cubicBezTo>
                  <a:cubicBezTo>
                    <a:pt x="646" y="175"/>
                    <a:pt x="684" y="189"/>
                    <a:pt x="709" y="235"/>
                  </a:cubicBezTo>
                  <a:cubicBezTo>
                    <a:pt x="761" y="329"/>
                    <a:pt x="792" y="399"/>
                    <a:pt x="843" y="493"/>
                  </a:cubicBezTo>
                  <a:cubicBezTo>
                    <a:pt x="850" y="505"/>
                    <a:pt x="858" y="513"/>
                    <a:pt x="873" y="512"/>
                  </a:cubicBezTo>
                  <a:cubicBezTo>
                    <a:pt x="887" y="511"/>
                    <a:pt x="899" y="517"/>
                    <a:pt x="899" y="533"/>
                  </a:cubicBezTo>
                  <a:cubicBezTo>
                    <a:pt x="899" y="551"/>
                    <a:pt x="885" y="553"/>
                    <a:pt x="870" y="553"/>
                  </a:cubicBezTo>
                  <a:cubicBezTo>
                    <a:pt x="740" y="553"/>
                    <a:pt x="611" y="553"/>
                    <a:pt x="481" y="553"/>
                  </a:cubicBezTo>
                  <a:cubicBezTo>
                    <a:pt x="333" y="553"/>
                    <a:pt x="185" y="553"/>
                    <a:pt x="37" y="553"/>
                  </a:cubicBezTo>
                  <a:cubicBezTo>
                    <a:pt x="32" y="553"/>
                    <a:pt x="27" y="553"/>
                    <a:pt x="23" y="553"/>
                  </a:cubicBezTo>
                  <a:cubicBezTo>
                    <a:pt x="10" y="553"/>
                    <a:pt x="0" y="547"/>
                    <a:pt x="2" y="534"/>
                  </a:cubicBezTo>
                  <a:cubicBezTo>
                    <a:pt x="3" y="526"/>
                    <a:pt x="14" y="513"/>
                    <a:pt x="20" y="513"/>
                  </a:cubicBezTo>
                  <a:cubicBezTo>
                    <a:pt x="46" y="515"/>
                    <a:pt x="53" y="498"/>
                    <a:pt x="61" y="480"/>
                  </a:cubicBezTo>
                  <a:cubicBezTo>
                    <a:pt x="139" y="324"/>
                    <a:pt x="178" y="234"/>
                    <a:pt x="248" y="75"/>
                  </a:cubicBezTo>
                  <a:cubicBezTo>
                    <a:pt x="276" y="12"/>
                    <a:pt x="353" y="0"/>
                    <a:pt x="389" y="56"/>
                  </a:cubicBezTo>
                  <a:cubicBezTo>
                    <a:pt x="450" y="150"/>
                    <a:pt x="468" y="196"/>
                    <a:pt x="531" y="290"/>
                  </a:cubicBezTo>
                  <a:cubicBezTo>
                    <a:pt x="533" y="293"/>
                    <a:pt x="535" y="296"/>
                    <a:pt x="538" y="300"/>
                  </a:cubicBezTo>
                  <a:close/>
                  <a:moveTo>
                    <a:pt x="287" y="121"/>
                  </a:moveTo>
                  <a:cubicBezTo>
                    <a:pt x="100" y="497"/>
                    <a:pt x="100" y="497"/>
                    <a:pt x="100" y="497"/>
                  </a:cubicBezTo>
                  <a:cubicBezTo>
                    <a:pt x="97" y="503"/>
                    <a:pt x="101" y="509"/>
                    <a:pt x="108" y="509"/>
                  </a:cubicBezTo>
                  <a:cubicBezTo>
                    <a:pt x="790" y="509"/>
                    <a:pt x="790" y="509"/>
                    <a:pt x="790" y="509"/>
                  </a:cubicBezTo>
                  <a:cubicBezTo>
                    <a:pt x="797" y="509"/>
                    <a:pt x="801" y="502"/>
                    <a:pt x="798" y="496"/>
                  </a:cubicBezTo>
                  <a:cubicBezTo>
                    <a:pt x="767" y="442"/>
                    <a:pt x="738" y="388"/>
                    <a:pt x="708" y="335"/>
                  </a:cubicBezTo>
                  <a:cubicBezTo>
                    <a:pt x="682" y="288"/>
                    <a:pt x="617" y="284"/>
                    <a:pt x="585" y="326"/>
                  </a:cubicBezTo>
                  <a:cubicBezTo>
                    <a:pt x="578" y="335"/>
                    <a:pt x="571" y="344"/>
                    <a:pt x="565" y="352"/>
                  </a:cubicBezTo>
                  <a:cubicBezTo>
                    <a:pt x="549" y="373"/>
                    <a:pt x="535" y="372"/>
                    <a:pt x="521" y="351"/>
                  </a:cubicBezTo>
                  <a:cubicBezTo>
                    <a:pt x="479" y="289"/>
                    <a:pt x="438" y="227"/>
                    <a:pt x="397" y="164"/>
                  </a:cubicBezTo>
                  <a:cubicBezTo>
                    <a:pt x="386" y="148"/>
                    <a:pt x="376" y="133"/>
                    <a:pt x="365" y="116"/>
                  </a:cubicBezTo>
                  <a:cubicBezTo>
                    <a:pt x="346" y="88"/>
                    <a:pt x="303" y="91"/>
                    <a:pt x="287" y="1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9" name="Freeform 36">
              <a:extLst>
                <a:ext uri="{FF2B5EF4-FFF2-40B4-BE49-F238E27FC236}">
                  <a16:creationId xmlns:a16="http://schemas.microsoft.com/office/drawing/2014/main" id="{745ADF48-9285-0A6A-13F0-B9A16A0DCC67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4" y="1810"/>
              <a:ext cx="102" cy="90"/>
            </a:xfrm>
            <a:custGeom>
              <a:avLst/>
              <a:gdLst>
                <a:gd name="T0" fmla="*/ 43 w 43"/>
                <a:gd name="T1" fmla="*/ 18 h 38"/>
                <a:gd name="T2" fmla="*/ 40 w 43"/>
                <a:gd name="T3" fmla="*/ 25 h 38"/>
                <a:gd name="T4" fmla="*/ 21 w 43"/>
                <a:gd name="T5" fmla="*/ 38 h 38"/>
                <a:gd name="T6" fmla="*/ 1 w 43"/>
                <a:gd name="T7" fmla="*/ 18 h 38"/>
                <a:gd name="T8" fmla="*/ 19 w 43"/>
                <a:gd name="T9" fmla="*/ 0 h 38"/>
                <a:gd name="T10" fmla="*/ 40 w 43"/>
                <a:gd name="T11" fmla="*/ 11 h 38"/>
                <a:gd name="T12" fmla="*/ 43 w 43"/>
                <a:gd name="T13" fmla="*/ 1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38">
                  <a:moveTo>
                    <a:pt x="43" y="18"/>
                  </a:moveTo>
                  <a:cubicBezTo>
                    <a:pt x="43" y="21"/>
                    <a:pt x="42" y="24"/>
                    <a:pt x="40" y="25"/>
                  </a:cubicBezTo>
                  <a:cubicBezTo>
                    <a:pt x="33" y="31"/>
                    <a:pt x="26" y="38"/>
                    <a:pt x="21" y="38"/>
                  </a:cubicBezTo>
                  <a:cubicBezTo>
                    <a:pt x="13" y="37"/>
                    <a:pt x="3" y="26"/>
                    <a:pt x="1" y="18"/>
                  </a:cubicBezTo>
                  <a:cubicBezTo>
                    <a:pt x="0" y="13"/>
                    <a:pt x="12" y="1"/>
                    <a:pt x="19" y="0"/>
                  </a:cubicBezTo>
                  <a:cubicBezTo>
                    <a:pt x="25" y="0"/>
                    <a:pt x="33" y="6"/>
                    <a:pt x="40" y="11"/>
                  </a:cubicBezTo>
                  <a:cubicBezTo>
                    <a:pt x="42" y="13"/>
                    <a:pt x="43" y="15"/>
                    <a:pt x="43" y="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60" name="Freeform 37">
              <a:extLst>
                <a:ext uri="{FF2B5EF4-FFF2-40B4-BE49-F238E27FC236}">
                  <a16:creationId xmlns:a16="http://schemas.microsoft.com/office/drawing/2014/main" id="{2E63F3AD-8279-3EEE-D664-594996131B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1" y="1803"/>
              <a:ext cx="100" cy="107"/>
            </a:xfrm>
            <a:custGeom>
              <a:avLst/>
              <a:gdLst>
                <a:gd name="T0" fmla="*/ 19 w 42"/>
                <a:gd name="T1" fmla="*/ 45 h 45"/>
                <a:gd name="T2" fmla="*/ 12 w 42"/>
                <a:gd name="T3" fmla="*/ 42 h 45"/>
                <a:gd name="T4" fmla="*/ 1 w 42"/>
                <a:gd name="T5" fmla="*/ 21 h 45"/>
                <a:gd name="T6" fmla="*/ 21 w 42"/>
                <a:gd name="T7" fmla="*/ 3 h 45"/>
                <a:gd name="T8" fmla="*/ 39 w 42"/>
                <a:gd name="T9" fmla="*/ 22 h 45"/>
                <a:gd name="T10" fmla="*/ 26 w 42"/>
                <a:gd name="T11" fmla="*/ 42 h 45"/>
                <a:gd name="T12" fmla="*/ 19 w 42"/>
                <a:gd name="T13" fmla="*/ 45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45">
                  <a:moveTo>
                    <a:pt x="19" y="45"/>
                  </a:moveTo>
                  <a:cubicBezTo>
                    <a:pt x="16" y="45"/>
                    <a:pt x="14" y="44"/>
                    <a:pt x="12" y="42"/>
                  </a:cubicBezTo>
                  <a:cubicBezTo>
                    <a:pt x="7" y="35"/>
                    <a:pt x="0" y="27"/>
                    <a:pt x="1" y="21"/>
                  </a:cubicBezTo>
                  <a:cubicBezTo>
                    <a:pt x="2" y="14"/>
                    <a:pt x="13" y="4"/>
                    <a:pt x="21" y="3"/>
                  </a:cubicBezTo>
                  <a:cubicBezTo>
                    <a:pt x="33" y="0"/>
                    <a:pt x="42" y="10"/>
                    <a:pt x="39" y="22"/>
                  </a:cubicBezTo>
                  <a:cubicBezTo>
                    <a:pt x="38" y="30"/>
                    <a:pt x="31" y="36"/>
                    <a:pt x="26" y="42"/>
                  </a:cubicBezTo>
                  <a:cubicBezTo>
                    <a:pt x="25" y="44"/>
                    <a:pt x="22" y="45"/>
                    <a:pt x="19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61" name="Freeform 38">
              <a:extLst>
                <a:ext uri="{FF2B5EF4-FFF2-40B4-BE49-F238E27FC236}">
                  <a16:creationId xmlns:a16="http://schemas.microsoft.com/office/drawing/2014/main" id="{765B423B-638E-4A18-7516-5F179298CC4B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8" y="1979"/>
              <a:ext cx="93" cy="98"/>
            </a:xfrm>
            <a:custGeom>
              <a:avLst/>
              <a:gdLst>
                <a:gd name="T0" fmla="*/ 20 w 39"/>
                <a:gd name="T1" fmla="*/ 0 h 41"/>
                <a:gd name="T2" fmla="*/ 27 w 39"/>
                <a:gd name="T3" fmla="*/ 3 h 41"/>
                <a:gd name="T4" fmla="*/ 39 w 39"/>
                <a:gd name="T5" fmla="*/ 22 h 41"/>
                <a:gd name="T6" fmla="*/ 26 w 39"/>
                <a:gd name="T7" fmla="*/ 38 h 41"/>
                <a:gd name="T8" fmla="*/ 15 w 39"/>
                <a:gd name="T9" fmla="*/ 38 h 41"/>
                <a:gd name="T10" fmla="*/ 1 w 39"/>
                <a:gd name="T11" fmla="*/ 23 h 41"/>
                <a:gd name="T12" fmla="*/ 13 w 39"/>
                <a:gd name="T13" fmla="*/ 3 h 41"/>
                <a:gd name="T14" fmla="*/ 20 w 39"/>
                <a:gd name="T15" fmla="*/ 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" h="41">
                  <a:moveTo>
                    <a:pt x="20" y="0"/>
                  </a:moveTo>
                  <a:cubicBezTo>
                    <a:pt x="23" y="0"/>
                    <a:pt x="25" y="1"/>
                    <a:pt x="27" y="3"/>
                  </a:cubicBezTo>
                  <a:cubicBezTo>
                    <a:pt x="32" y="10"/>
                    <a:pt x="39" y="16"/>
                    <a:pt x="39" y="22"/>
                  </a:cubicBezTo>
                  <a:cubicBezTo>
                    <a:pt x="38" y="28"/>
                    <a:pt x="32" y="33"/>
                    <a:pt x="26" y="38"/>
                  </a:cubicBezTo>
                  <a:cubicBezTo>
                    <a:pt x="23" y="41"/>
                    <a:pt x="18" y="41"/>
                    <a:pt x="15" y="38"/>
                  </a:cubicBezTo>
                  <a:cubicBezTo>
                    <a:pt x="8" y="33"/>
                    <a:pt x="2" y="28"/>
                    <a:pt x="1" y="23"/>
                  </a:cubicBezTo>
                  <a:cubicBezTo>
                    <a:pt x="0" y="17"/>
                    <a:pt x="8" y="10"/>
                    <a:pt x="13" y="3"/>
                  </a:cubicBezTo>
                  <a:cubicBezTo>
                    <a:pt x="15" y="1"/>
                    <a:pt x="17" y="0"/>
                    <a:pt x="2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62" name="Freeform 39">
              <a:extLst>
                <a:ext uri="{FF2B5EF4-FFF2-40B4-BE49-F238E27FC236}">
                  <a16:creationId xmlns:a16="http://schemas.microsoft.com/office/drawing/2014/main" id="{BAA08383-5640-6535-A7B5-765934BAA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15" y="1455"/>
              <a:ext cx="102" cy="93"/>
            </a:xfrm>
            <a:custGeom>
              <a:avLst/>
              <a:gdLst>
                <a:gd name="T0" fmla="*/ 0 w 43"/>
                <a:gd name="T1" fmla="*/ 19 h 39"/>
                <a:gd name="T2" fmla="*/ 3 w 43"/>
                <a:gd name="T3" fmla="*/ 12 h 39"/>
                <a:gd name="T4" fmla="*/ 23 w 43"/>
                <a:gd name="T5" fmla="*/ 0 h 39"/>
                <a:gd name="T6" fmla="*/ 42 w 43"/>
                <a:gd name="T7" fmla="*/ 17 h 39"/>
                <a:gd name="T8" fmla="*/ 24 w 43"/>
                <a:gd name="T9" fmla="*/ 38 h 39"/>
                <a:gd name="T10" fmla="*/ 3 w 43"/>
                <a:gd name="T11" fmla="*/ 26 h 39"/>
                <a:gd name="T12" fmla="*/ 0 w 43"/>
                <a:gd name="T13" fmla="*/ 1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39">
                  <a:moveTo>
                    <a:pt x="0" y="19"/>
                  </a:moveTo>
                  <a:cubicBezTo>
                    <a:pt x="0" y="16"/>
                    <a:pt x="1" y="14"/>
                    <a:pt x="3" y="12"/>
                  </a:cubicBezTo>
                  <a:cubicBezTo>
                    <a:pt x="10" y="7"/>
                    <a:pt x="17" y="0"/>
                    <a:pt x="23" y="0"/>
                  </a:cubicBezTo>
                  <a:cubicBezTo>
                    <a:pt x="30" y="0"/>
                    <a:pt x="43" y="12"/>
                    <a:pt x="42" y="17"/>
                  </a:cubicBezTo>
                  <a:cubicBezTo>
                    <a:pt x="40" y="25"/>
                    <a:pt x="31" y="37"/>
                    <a:pt x="24" y="38"/>
                  </a:cubicBezTo>
                  <a:cubicBezTo>
                    <a:pt x="18" y="39"/>
                    <a:pt x="10" y="31"/>
                    <a:pt x="3" y="26"/>
                  </a:cubicBezTo>
                  <a:cubicBezTo>
                    <a:pt x="1" y="24"/>
                    <a:pt x="0" y="22"/>
                    <a:pt x="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63" name="Freeform 40">
              <a:extLst>
                <a:ext uri="{FF2B5EF4-FFF2-40B4-BE49-F238E27FC236}">
                  <a16:creationId xmlns:a16="http://schemas.microsoft.com/office/drawing/2014/main" id="{3FD470C1-E9E0-7925-9BAC-CA6BB756A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93" y="1629"/>
              <a:ext cx="98" cy="93"/>
            </a:xfrm>
            <a:custGeom>
              <a:avLst/>
              <a:gdLst>
                <a:gd name="T0" fmla="*/ 41 w 41"/>
                <a:gd name="T1" fmla="*/ 20 h 39"/>
                <a:gd name="T2" fmla="*/ 38 w 41"/>
                <a:gd name="T3" fmla="*/ 27 h 39"/>
                <a:gd name="T4" fmla="*/ 18 w 41"/>
                <a:gd name="T5" fmla="*/ 38 h 39"/>
                <a:gd name="T6" fmla="*/ 3 w 41"/>
                <a:gd name="T7" fmla="*/ 26 h 39"/>
                <a:gd name="T8" fmla="*/ 2 w 41"/>
                <a:gd name="T9" fmla="*/ 14 h 39"/>
                <a:gd name="T10" fmla="*/ 18 w 41"/>
                <a:gd name="T11" fmla="*/ 1 h 39"/>
                <a:gd name="T12" fmla="*/ 38 w 41"/>
                <a:gd name="T13" fmla="*/ 13 h 39"/>
                <a:gd name="T14" fmla="*/ 41 w 41"/>
                <a:gd name="T15" fmla="*/ 19 h 39"/>
                <a:gd name="T16" fmla="*/ 41 w 41"/>
                <a:gd name="T17" fmla="*/ 2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39">
                  <a:moveTo>
                    <a:pt x="41" y="20"/>
                  </a:moveTo>
                  <a:cubicBezTo>
                    <a:pt x="41" y="23"/>
                    <a:pt x="40" y="25"/>
                    <a:pt x="38" y="27"/>
                  </a:cubicBezTo>
                  <a:cubicBezTo>
                    <a:pt x="31" y="32"/>
                    <a:pt x="24" y="39"/>
                    <a:pt x="18" y="38"/>
                  </a:cubicBezTo>
                  <a:cubicBezTo>
                    <a:pt x="13" y="38"/>
                    <a:pt x="8" y="31"/>
                    <a:pt x="3" y="26"/>
                  </a:cubicBezTo>
                  <a:cubicBezTo>
                    <a:pt x="0" y="22"/>
                    <a:pt x="0" y="18"/>
                    <a:pt x="2" y="14"/>
                  </a:cubicBezTo>
                  <a:cubicBezTo>
                    <a:pt x="7" y="8"/>
                    <a:pt x="12" y="2"/>
                    <a:pt x="18" y="1"/>
                  </a:cubicBezTo>
                  <a:cubicBezTo>
                    <a:pt x="24" y="0"/>
                    <a:pt x="31" y="7"/>
                    <a:pt x="38" y="13"/>
                  </a:cubicBezTo>
                  <a:cubicBezTo>
                    <a:pt x="40" y="14"/>
                    <a:pt x="41" y="17"/>
                    <a:pt x="41" y="19"/>
                  </a:cubicBezTo>
                  <a:lnTo>
                    <a:pt x="41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64" name="Freeform 41">
              <a:extLst>
                <a:ext uri="{FF2B5EF4-FFF2-40B4-BE49-F238E27FC236}">
                  <a16:creationId xmlns:a16="http://schemas.microsoft.com/office/drawing/2014/main" id="{B7251115-8E56-1076-5049-F6B51A2EC3BD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8" y="1974"/>
              <a:ext cx="95" cy="110"/>
            </a:xfrm>
            <a:custGeom>
              <a:avLst/>
              <a:gdLst>
                <a:gd name="T0" fmla="*/ 12 w 40"/>
                <a:gd name="T1" fmla="*/ 5 h 46"/>
                <a:gd name="T2" fmla="*/ 25 w 40"/>
                <a:gd name="T3" fmla="*/ 4 h 46"/>
                <a:gd name="T4" fmla="*/ 38 w 40"/>
                <a:gd name="T5" fmla="*/ 23 h 46"/>
                <a:gd name="T6" fmla="*/ 18 w 40"/>
                <a:gd name="T7" fmla="*/ 44 h 46"/>
                <a:gd name="T8" fmla="*/ 0 w 40"/>
                <a:gd name="T9" fmla="*/ 25 h 46"/>
                <a:gd name="T10" fmla="*/ 12 w 40"/>
                <a:gd name="T11" fmla="*/ 5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46">
                  <a:moveTo>
                    <a:pt x="12" y="5"/>
                  </a:moveTo>
                  <a:cubicBezTo>
                    <a:pt x="15" y="1"/>
                    <a:pt x="21" y="0"/>
                    <a:pt x="25" y="4"/>
                  </a:cubicBezTo>
                  <a:cubicBezTo>
                    <a:pt x="32" y="12"/>
                    <a:pt x="38" y="17"/>
                    <a:pt x="38" y="23"/>
                  </a:cubicBezTo>
                  <a:cubicBezTo>
                    <a:pt x="40" y="36"/>
                    <a:pt x="31" y="46"/>
                    <a:pt x="18" y="44"/>
                  </a:cubicBezTo>
                  <a:cubicBezTo>
                    <a:pt x="11" y="43"/>
                    <a:pt x="1" y="32"/>
                    <a:pt x="0" y="25"/>
                  </a:cubicBezTo>
                  <a:cubicBezTo>
                    <a:pt x="0" y="20"/>
                    <a:pt x="5" y="14"/>
                    <a:pt x="12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</p:grpSp>
      <p:sp>
        <p:nvSpPr>
          <p:cNvPr id="65" name="Текст 7">
            <a:extLst>
              <a:ext uri="{FF2B5EF4-FFF2-40B4-BE49-F238E27FC236}">
                <a16:creationId xmlns:a16="http://schemas.microsoft.com/office/drawing/2014/main" id="{ED313708-034D-1063-D4EF-A05945D057C8}"/>
              </a:ext>
            </a:extLst>
          </p:cNvPr>
          <p:cNvSpPr txBox="1">
            <a:spLocks/>
          </p:cNvSpPr>
          <p:nvPr/>
        </p:nvSpPr>
        <p:spPr>
          <a:xfrm>
            <a:off x="9823427" y="2765852"/>
            <a:ext cx="1903790" cy="55637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ru-RU" sz="2000" dirty="0">
                <a:solidFill>
                  <a:srgbClr val="293D6D"/>
                </a:solidFill>
              </a:rPr>
              <a:t>1,5</a:t>
            </a:r>
            <a:r>
              <a:rPr lang="ru-RU" sz="1400" dirty="0">
                <a:solidFill>
                  <a:srgbClr val="293D6D"/>
                </a:solidFill>
              </a:rPr>
              <a:t> млрд. тонн</a:t>
            </a:r>
            <a:endParaRPr lang="ru-RU" sz="1600" dirty="0">
              <a:solidFill>
                <a:srgbClr val="293D6D"/>
              </a:solidFill>
            </a:endParaRPr>
          </a:p>
          <a:p>
            <a:pPr>
              <a:spcBef>
                <a:spcPts val="0"/>
              </a:spcBef>
              <a:defRPr/>
            </a:pPr>
            <a:r>
              <a:rPr lang="ru-RU" dirty="0">
                <a:solidFill>
                  <a:srgbClr val="333333"/>
                </a:solidFill>
              </a:rPr>
              <a:t>накопленные ЗШО</a:t>
            </a:r>
          </a:p>
        </p:txBody>
      </p:sp>
      <p:grpSp>
        <p:nvGrpSpPr>
          <p:cNvPr id="66" name="Group 48">
            <a:extLst>
              <a:ext uri="{FF2B5EF4-FFF2-40B4-BE49-F238E27FC236}">
                <a16:creationId xmlns:a16="http://schemas.microsoft.com/office/drawing/2014/main" id="{D7F2583E-EF9B-D10F-3DB5-AABF4EFF6A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355511" y="3396719"/>
            <a:ext cx="348296" cy="347810"/>
            <a:chOff x="1813" y="545"/>
            <a:chExt cx="2148" cy="2145"/>
          </a:xfrm>
          <a:solidFill>
            <a:srgbClr val="293D6D"/>
          </a:solidFill>
        </p:grpSpPr>
        <p:sp>
          <p:nvSpPr>
            <p:cNvPr id="67" name="Freeform 49">
              <a:extLst>
                <a:ext uri="{FF2B5EF4-FFF2-40B4-BE49-F238E27FC236}">
                  <a16:creationId xmlns:a16="http://schemas.microsoft.com/office/drawing/2014/main" id="{10B8F5D1-5EC2-9F39-3A90-0E0666CDE7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3" y="545"/>
              <a:ext cx="1028" cy="1891"/>
            </a:xfrm>
            <a:custGeom>
              <a:avLst/>
              <a:gdLst>
                <a:gd name="T0" fmla="*/ 320 w 432"/>
                <a:gd name="T1" fmla="*/ 269 h 795"/>
                <a:gd name="T2" fmla="*/ 320 w 432"/>
                <a:gd name="T3" fmla="*/ 795 h 795"/>
                <a:gd name="T4" fmla="*/ 110 w 432"/>
                <a:gd name="T5" fmla="*/ 795 h 795"/>
                <a:gd name="T6" fmla="*/ 110 w 432"/>
                <a:gd name="T7" fmla="*/ 269 h 795"/>
                <a:gd name="T8" fmla="*/ 42 w 432"/>
                <a:gd name="T9" fmla="*/ 269 h 795"/>
                <a:gd name="T10" fmla="*/ 7 w 432"/>
                <a:gd name="T11" fmla="*/ 252 h 795"/>
                <a:gd name="T12" fmla="*/ 19 w 432"/>
                <a:gd name="T13" fmla="*/ 216 h 795"/>
                <a:gd name="T14" fmla="*/ 191 w 432"/>
                <a:gd name="T15" fmla="*/ 19 h 795"/>
                <a:gd name="T16" fmla="*/ 239 w 432"/>
                <a:gd name="T17" fmla="*/ 20 h 795"/>
                <a:gd name="T18" fmla="*/ 412 w 432"/>
                <a:gd name="T19" fmla="*/ 217 h 795"/>
                <a:gd name="T20" fmla="*/ 422 w 432"/>
                <a:gd name="T21" fmla="*/ 252 h 795"/>
                <a:gd name="T22" fmla="*/ 389 w 432"/>
                <a:gd name="T23" fmla="*/ 268 h 795"/>
                <a:gd name="T24" fmla="*/ 320 w 432"/>
                <a:gd name="T25" fmla="*/ 269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2" h="795">
                  <a:moveTo>
                    <a:pt x="320" y="269"/>
                  </a:moveTo>
                  <a:cubicBezTo>
                    <a:pt x="320" y="446"/>
                    <a:pt x="320" y="620"/>
                    <a:pt x="320" y="795"/>
                  </a:cubicBezTo>
                  <a:cubicBezTo>
                    <a:pt x="251" y="795"/>
                    <a:pt x="182" y="795"/>
                    <a:pt x="110" y="795"/>
                  </a:cubicBezTo>
                  <a:cubicBezTo>
                    <a:pt x="110" y="621"/>
                    <a:pt x="110" y="446"/>
                    <a:pt x="110" y="269"/>
                  </a:cubicBezTo>
                  <a:cubicBezTo>
                    <a:pt x="86" y="269"/>
                    <a:pt x="64" y="269"/>
                    <a:pt x="42" y="269"/>
                  </a:cubicBezTo>
                  <a:cubicBezTo>
                    <a:pt x="28" y="269"/>
                    <a:pt x="14" y="267"/>
                    <a:pt x="7" y="252"/>
                  </a:cubicBezTo>
                  <a:cubicBezTo>
                    <a:pt x="0" y="236"/>
                    <a:pt x="10" y="226"/>
                    <a:pt x="19" y="216"/>
                  </a:cubicBezTo>
                  <a:cubicBezTo>
                    <a:pt x="76" y="151"/>
                    <a:pt x="134" y="85"/>
                    <a:pt x="191" y="19"/>
                  </a:cubicBezTo>
                  <a:cubicBezTo>
                    <a:pt x="208" y="0"/>
                    <a:pt x="222" y="0"/>
                    <a:pt x="239" y="20"/>
                  </a:cubicBezTo>
                  <a:cubicBezTo>
                    <a:pt x="297" y="86"/>
                    <a:pt x="354" y="151"/>
                    <a:pt x="412" y="217"/>
                  </a:cubicBezTo>
                  <a:cubicBezTo>
                    <a:pt x="421" y="227"/>
                    <a:pt x="432" y="239"/>
                    <a:pt x="422" y="252"/>
                  </a:cubicBezTo>
                  <a:cubicBezTo>
                    <a:pt x="414" y="261"/>
                    <a:pt x="400" y="267"/>
                    <a:pt x="389" y="268"/>
                  </a:cubicBezTo>
                  <a:cubicBezTo>
                    <a:pt x="367" y="271"/>
                    <a:pt x="345" y="269"/>
                    <a:pt x="320" y="2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68" name="Freeform 50">
              <a:extLst>
                <a:ext uri="{FF2B5EF4-FFF2-40B4-BE49-F238E27FC236}">
                  <a16:creationId xmlns:a16="http://schemas.microsoft.com/office/drawing/2014/main" id="{F8911E74-5B3A-C518-D9F6-5EF07F148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572" y="1566"/>
              <a:ext cx="497" cy="872"/>
            </a:xfrm>
            <a:custGeom>
              <a:avLst/>
              <a:gdLst>
                <a:gd name="T0" fmla="*/ 207 w 209"/>
                <a:gd name="T1" fmla="*/ 367 h 367"/>
                <a:gd name="T2" fmla="*/ 1 w 209"/>
                <a:gd name="T3" fmla="*/ 367 h 367"/>
                <a:gd name="T4" fmla="*/ 0 w 209"/>
                <a:gd name="T5" fmla="*/ 347 h 367"/>
                <a:gd name="T6" fmla="*/ 0 w 209"/>
                <a:gd name="T7" fmla="*/ 38 h 367"/>
                <a:gd name="T8" fmla="*/ 38 w 209"/>
                <a:gd name="T9" fmla="*/ 1 h 367"/>
                <a:gd name="T10" fmla="*/ 177 w 209"/>
                <a:gd name="T11" fmla="*/ 1 h 367"/>
                <a:gd name="T12" fmla="*/ 209 w 209"/>
                <a:gd name="T13" fmla="*/ 30 h 367"/>
                <a:gd name="T14" fmla="*/ 209 w 209"/>
                <a:gd name="T15" fmla="*/ 360 h 367"/>
                <a:gd name="T16" fmla="*/ 207 w 209"/>
                <a:gd name="T17" fmla="*/ 367 h 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9" h="367">
                  <a:moveTo>
                    <a:pt x="207" y="367"/>
                  </a:moveTo>
                  <a:cubicBezTo>
                    <a:pt x="138" y="367"/>
                    <a:pt x="71" y="367"/>
                    <a:pt x="1" y="367"/>
                  </a:cubicBezTo>
                  <a:cubicBezTo>
                    <a:pt x="1" y="360"/>
                    <a:pt x="0" y="354"/>
                    <a:pt x="0" y="347"/>
                  </a:cubicBezTo>
                  <a:cubicBezTo>
                    <a:pt x="0" y="244"/>
                    <a:pt x="0" y="141"/>
                    <a:pt x="0" y="38"/>
                  </a:cubicBezTo>
                  <a:cubicBezTo>
                    <a:pt x="0" y="7"/>
                    <a:pt x="7" y="1"/>
                    <a:pt x="38" y="1"/>
                  </a:cubicBezTo>
                  <a:cubicBezTo>
                    <a:pt x="84" y="0"/>
                    <a:pt x="131" y="0"/>
                    <a:pt x="177" y="1"/>
                  </a:cubicBezTo>
                  <a:cubicBezTo>
                    <a:pt x="199" y="1"/>
                    <a:pt x="209" y="9"/>
                    <a:pt x="209" y="30"/>
                  </a:cubicBezTo>
                  <a:cubicBezTo>
                    <a:pt x="209" y="140"/>
                    <a:pt x="209" y="250"/>
                    <a:pt x="209" y="360"/>
                  </a:cubicBezTo>
                  <a:cubicBezTo>
                    <a:pt x="209" y="362"/>
                    <a:pt x="208" y="364"/>
                    <a:pt x="207" y="36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69" name="Freeform 51">
              <a:extLst>
                <a:ext uri="{FF2B5EF4-FFF2-40B4-BE49-F238E27FC236}">
                  <a16:creationId xmlns:a16="http://schemas.microsoft.com/office/drawing/2014/main" id="{86D4BDFE-AFC7-BB64-1FC4-3E95296811F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3" y="2564"/>
              <a:ext cx="2134" cy="126"/>
            </a:xfrm>
            <a:custGeom>
              <a:avLst/>
              <a:gdLst>
                <a:gd name="T0" fmla="*/ 448 w 897"/>
                <a:gd name="T1" fmla="*/ 53 h 53"/>
                <a:gd name="T2" fmla="*/ 41 w 897"/>
                <a:gd name="T3" fmla="*/ 53 h 53"/>
                <a:gd name="T4" fmla="*/ 23 w 897"/>
                <a:gd name="T5" fmla="*/ 52 h 53"/>
                <a:gd name="T6" fmla="*/ 0 w 897"/>
                <a:gd name="T7" fmla="*/ 26 h 53"/>
                <a:gd name="T8" fmla="*/ 23 w 897"/>
                <a:gd name="T9" fmla="*/ 1 h 53"/>
                <a:gd name="T10" fmla="*/ 43 w 897"/>
                <a:gd name="T11" fmla="*/ 0 h 53"/>
                <a:gd name="T12" fmla="*/ 852 w 897"/>
                <a:gd name="T13" fmla="*/ 0 h 53"/>
                <a:gd name="T14" fmla="*/ 896 w 897"/>
                <a:gd name="T15" fmla="*/ 27 h 53"/>
                <a:gd name="T16" fmla="*/ 852 w 897"/>
                <a:gd name="T17" fmla="*/ 53 h 53"/>
                <a:gd name="T18" fmla="*/ 448 w 897"/>
                <a:gd name="T19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97" h="53">
                  <a:moveTo>
                    <a:pt x="448" y="53"/>
                  </a:moveTo>
                  <a:cubicBezTo>
                    <a:pt x="312" y="53"/>
                    <a:pt x="176" y="53"/>
                    <a:pt x="41" y="53"/>
                  </a:cubicBezTo>
                  <a:cubicBezTo>
                    <a:pt x="35" y="53"/>
                    <a:pt x="28" y="53"/>
                    <a:pt x="23" y="52"/>
                  </a:cubicBezTo>
                  <a:cubicBezTo>
                    <a:pt x="8" y="50"/>
                    <a:pt x="0" y="41"/>
                    <a:pt x="0" y="26"/>
                  </a:cubicBezTo>
                  <a:cubicBezTo>
                    <a:pt x="0" y="12"/>
                    <a:pt x="8" y="2"/>
                    <a:pt x="23" y="1"/>
                  </a:cubicBezTo>
                  <a:cubicBezTo>
                    <a:pt x="29" y="0"/>
                    <a:pt x="36" y="0"/>
                    <a:pt x="43" y="0"/>
                  </a:cubicBezTo>
                  <a:cubicBezTo>
                    <a:pt x="313" y="0"/>
                    <a:pt x="582" y="0"/>
                    <a:pt x="852" y="0"/>
                  </a:cubicBezTo>
                  <a:cubicBezTo>
                    <a:pt x="884" y="0"/>
                    <a:pt x="897" y="8"/>
                    <a:pt x="896" y="27"/>
                  </a:cubicBezTo>
                  <a:cubicBezTo>
                    <a:pt x="895" y="46"/>
                    <a:pt x="884" y="53"/>
                    <a:pt x="852" y="53"/>
                  </a:cubicBezTo>
                  <a:cubicBezTo>
                    <a:pt x="717" y="53"/>
                    <a:pt x="583" y="53"/>
                    <a:pt x="448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70" name="Freeform 52">
              <a:extLst>
                <a:ext uri="{FF2B5EF4-FFF2-40B4-BE49-F238E27FC236}">
                  <a16:creationId xmlns:a16="http://schemas.microsoft.com/office/drawing/2014/main" id="{C9814C66-B4B0-EC1E-1210-3AEEFCBDF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7" y="1939"/>
              <a:ext cx="509" cy="499"/>
            </a:xfrm>
            <a:custGeom>
              <a:avLst/>
              <a:gdLst>
                <a:gd name="T0" fmla="*/ 214 w 214"/>
                <a:gd name="T1" fmla="*/ 210 h 210"/>
                <a:gd name="T2" fmla="*/ 2 w 214"/>
                <a:gd name="T3" fmla="*/ 210 h 210"/>
                <a:gd name="T4" fmla="*/ 0 w 214"/>
                <a:gd name="T5" fmla="*/ 195 h 210"/>
                <a:gd name="T6" fmla="*/ 0 w 214"/>
                <a:gd name="T7" fmla="*/ 35 h 210"/>
                <a:gd name="T8" fmla="*/ 35 w 214"/>
                <a:gd name="T9" fmla="*/ 0 h 210"/>
                <a:gd name="T10" fmla="*/ 179 w 214"/>
                <a:gd name="T11" fmla="*/ 0 h 210"/>
                <a:gd name="T12" fmla="*/ 214 w 214"/>
                <a:gd name="T13" fmla="*/ 35 h 210"/>
                <a:gd name="T14" fmla="*/ 214 w 214"/>
                <a:gd name="T15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210">
                  <a:moveTo>
                    <a:pt x="214" y="210"/>
                  </a:moveTo>
                  <a:cubicBezTo>
                    <a:pt x="142" y="210"/>
                    <a:pt x="73" y="210"/>
                    <a:pt x="2" y="210"/>
                  </a:cubicBezTo>
                  <a:cubicBezTo>
                    <a:pt x="1" y="205"/>
                    <a:pt x="0" y="200"/>
                    <a:pt x="0" y="195"/>
                  </a:cubicBezTo>
                  <a:cubicBezTo>
                    <a:pt x="0" y="142"/>
                    <a:pt x="0" y="88"/>
                    <a:pt x="0" y="35"/>
                  </a:cubicBezTo>
                  <a:cubicBezTo>
                    <a:pt x="0" y="10"/>
                    <a:pt x="9" y="0"/>
                    <a:pt x="35" y="0"/>
                  </a:cubicBezTo>
                  <a:cubicBezTo>
                    <a:pt x="83" y="0"/>
                    <a:pt x="131" y="0"/>
                    <a:pt x="179" y="0"/>
                  </a:cubicBezTo>
                  <a:cubicBezTo>
                    <a:pt x="205" y="0"/>
                    <a:pt x="214" y="9"/>
                    <a:pt x="214" y="35"/>
                  </a:cubicBezTo>
                  <a:cubicBezTo>
                    <a:pt x="214" y="93"/>
                    <a:pt x="214" y="151"/>
                    <a:pt x="214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>
                <a:defRPr/>
              </a:pPr>
              <a:endParaRPr lang="ru-RU" sz="1800" kern="0">
                <a:solidFill>
                  <a:srgbClr val="333333"/>
                </a:solidFill>
                <a:latin typeface="Arial"/>
              </a:endParaRPr>
            </a:p>
          </p:txBody>
        </p:sp>
      </p:grpSp>
      <p:sp>
        <p:nvSpPr>
          <p:cNvPr id="71" name="Текст 7">
            <a:extLst>
              <a:ext uri="{FF2B5EF4-FFF2-40B4-BE49-F238E27FC236}">
                <a16:creationId xmlns:a16="http://schemas.microsoft.com/office/drawing/2014/main" id="{3EFCFF83-BAE7-7DB8-FD14-02A83056EDEA}"/>
              </a:ext>
            </a:extLst>
          </p:cNvPr>
          <p:cNvSpPr txBox="1">
            <a:spLocks/>
          </p:cNvSpPr>
          <p:nvPr/>
        </p:nvSpPr>
        <p:spPr>
          <a:xfrm>
            <a:off x="9832136" y="3369518"/>
            <a:ext cx="1903790" cy="55637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ru-RU" sz="2000" dirty="0">
                <a:solidFill>
                  <a:srgbClr val="293D6D"/>
                </a:solidFill>
              </a:rPr>
              <a:t>22</a:t>
            </a:r>
            <a:r>
              <a:rPr lang="ru-RU" sz="1400" dirty="0">
                <a:solidFill>
                  <a:srgbClr val="293D6D"/>
                </a:solidFill>
              </a:rPr>
              <a:t> млн тонн</a:t>
            </a:r>
            <a:endParaRPr lang="ru-RU" sz="2000" dirty="0">
              <a:solidFill>
                <a:srgbClr val="293D6D"/>
              </a:solidFill>
            </a:endParaRPr>
          </a:p>
          <a:p>
            <a:pPr>
              <a:spcBef>
                <a:spcPts val="0"/>
              </a:spcBef>
              <a:defRPr/>
            </a:pPr>
            <a:r>
              <a:rPr lang="ru-RU" dirty="0">
                <a:solidFill>
                  <a:srgbClr val="333333"/>
                </a:solidFill>
              </a:rPr>
              <a:t>годовой прирост</a:t>
            </a:r>
          </a:p>
        </p:txBody>
      </p:sp>
      <p:sp>
        <p:nvSpPr>
          <p:cNvPr id="72" name="Freeform 11">
            <a:extLst>
              <a:ext uri="{FF2B5EF4-FFF2-40B4-BE49-F238E27FC236}">
                <a16:creationId xmlns:a16="http://schemas.microsoft.com/office/drawing/2014/main" id="{BAB44E1D-0936-424C-6EF1-DD3BCE875ED4}"/>
              </a:ext>
            </a:extLst>
          </p:cNvPr>
          <p:cNvSpPr>
            <a:spLocks noEditPoints="1"/>
          </p:cNvSpPr>
          <p:nvPr/>
        </p:nvSpPr>
        <p:spPr bwMode="auto">
          <a:xfrm>
            <a:off x="9353694" y="4156118"/>
            <a:ext cx="342725" cy="319567"/>
          </a:xfrm>
          <a:custGeom>
            <a:avLst/>
            <a:gdLst>
              <a:gd name="T0" fmla="*/ 63 w 2522"/>
              <a:gd name="T1" fmla="*/ 759 h 2352"/>
              <a:gd name="T2" fmla="*/ 216 w 2522"/>
              <a:gd name="T3" fmla="*/ 879 h 2352"/>
              <a:gd name="T4" fmla="*/ 72 w 2522"/>
              <a:gd name="T5" fmla="*/ 1155 h 2352"/>
              <a:gd name="T6" fmla="*/ 202 w 2522"/>
              <a:gd name="T7" fmla="*/ 1450 h 2352"/>
              <a:gd name="T8" fmla="*/ 513 w 2522"/>
              <a:gd name="T9" fmla="*/ 1496 h 2352"/>
              <a:gd name="T10" fmla="*/ 716 w 2522"/>
              <a:gd name="T11" fmla="*/ 1164 h 2352"/>
              <a:gd name="T12" fmla="*/ 869 w 2522"/>
              <a:gd name="T13" fmla="*/ 1247 h 2352"/>
              <a:gd name="T14" fmla="*/ 604 w 2522"/>
              <a:gd name="T15" fmla="*/ 754 h 2352"/>
              <a:gd name="T16" fmla="*/ 63 w 2522"/>
              <a:gd name="T17" fmla="*/ 759 h 2352"/>
              <a:gd name="T18" fmla="*/ 85 w 2522"/>
              <a:gd name="T19" fmla="*/ 1435 h 2352"/>
              <a:gd name="T20" fmla="*/ 414 w 2522"/>
              <a:gd name="T21" fmla="*/ 2043 h 2352"/>
              <a:gd name="T22" fmla="*/ 734 w 2522"/>
              <a:gd name="T23" fmla="*/ 2144 h 2352"/>
              <a:gd name="T24" fmla="*/ 1081 w 2522"/>
              <a:gd name="T25" fmla="*/ 2144 h 2352"/>
              <a:gd name="T26" fmla="*/ 1081 w 2522"/>
              <a:gd name="T27" fmla="*/ 1569 h 2352"/>
              <a:gd name="T28" fmla="*/ 423 w 2522"/>
              <a:gd name="T29" fmla="*/ 1564 h 2352"/>
              <a:gd name="T30" fmla="*/ 85 w 2522"/>
              <a:gd name="T31" fmla="*/ 1435 h 2352"/>
              <a:gd name="T32" fmla="*/ 2155 w 2522"/>
              <a:gd name="T33" fmla="*/ 315 h 2352"/>
              <a:gd name="T34" fmla="*/ 1976 w 2522"/>
              <a:gd name="T35" fmla="*/ 391 h 2352"/>
              <a:gd name="T36" fmla="*/ 1804 w 2522"/>
              <a:gd name="T37" fmla="*/ 131 h 2352"/>
              <a:gd name="T38" fmla="*/ 1483 w 2522"/>
              <a:gd name="T39" fmla="*/ 102 h 2352"/>
              <a:gd name="T40" fmla="*/ 1292 w 2522"/>
              <a:gd name="T41" fmla="*/ 352 h 2352"/>
              <a:gd name="T42" fmla="*/ 1484 w 2522"/>
              <a:gd name="T43" fmla="*/ 690 h 2352"/>
              <a:gd name="T44" fmla="*/ 1337 w 2522"/>
              <a:gd name="T45" fmla="*/ 784 h 2352"/>
              <a:gd name="T46" fmla="*/ 1897 w 2522"/>
              <a:gd name="T47" fmla="*/ 790 h 2352"/>
              <a:gd name="T48" fmla="*/ 2155 w 2522"/>
              <a:gd name="T49" fmla="*/ 315 h 2352"/>
              <a:gd name="T50" fmla="*/ 1553 w 2522"/>
              <a:gd name="T51" fmla="*/ 7 h 2352"/>
              <a:gd name="T52" fmla="*/ 862 w 2522"/>
              <a:gd name="T53" fmla="*/ 0 h 2352"/>
              <a:gd name="T54" fmla="*/ 618 w 2522"/>
              <a:gd name="T55" fmla="*/ 231 h 2352"/>
              <a:gd name="T56" fmla="*/ 450 w 2522"/>
              <a:gd name="T57" fmla="*/ 534 h 2352"/>
              <a:gd name="T58" fmla="*/ 953 w 2522"/>
              <a:gd name="T59" fmla="*/ 813 h 2352"/>
              <a:gd name="T60" fmla="*/ 1276 w 2522"/>
              <a:gd name="T61" fmla="*/ 240 h 2352"/>
              <a:gd name="T62" fmla="*/ 1553 w 2522"/>
              <a:gd name="T63" fmla="*/ 7 h 2352"/>
              <a:gd name="T64" fmla="*/ 1583 w 2522"/>
              <a:gd name="T65" fmla="*/ 2352 h 2352"/>
              <a:gd name="T66" fmla="*/ 1603 w 2522"/>
              <a:gd name="T67" fmla="*/ 2159 h 2352"/>
              <a:gd name="T68" fmla="*/ 1914 w 2522"/>
              <a:gd name="T69" fmla="*/ 2135 h 2352"/>
              <a:gd name="T70" fmla="*/ 2095 w 2522"/>
              <a:gd name="T71" fmla="*/ 1868 h 2352"/>
              <a:gd name="T72" fmla="*/ 1969 w 2522"/>
              <a:gd name="T73" fmla="*/ 1580 h 2352"/>
              <a:gd name="T74" fmla="*/ 1580 w 2522"/>
              <a:gd name="T75" fmla="*/ 1583 h 2352"/>
              <a:gd name="T76" fmla="*/ 1569 w 2522"/>
              <a:gd name="T77" fmla="*/ 1409 h 2352"/>
              <a:gd name="T78" fmla="*/ 1292 w 2522"/>
              <a:gd name="T79" fmla="*/ 1896 h 2352"/>
              <a:gd name="T80" fmla="*/ 1583 w 2522"/>
              <a:gd name="T81" fmla="*/ 2352 h 2352"/>
              <a:gd name="T82" fmla="*/ 2144 w 2522"/>
              <a:gd name="T83" fmla="*/ 1975 h 2352"/>
              <a:gd name="T84" fmla="*/ 2486 w 2522"/>
              <a:gd name="T85" fmla="*/ 1374 h 2352"/>
              <a:gd name="T86" fmla="*/ 2402 w 2522"/>
              <a:gd name="T87" fmla="*/ 1048 h 2352"/>
              <a:gd name="T88" fmla="*/ 2218 w 2522"/>
              <a:gd name="T89" fmla="*/ 754 h 2352"/>
              <a:gd name="T90" fmla="*/ 1730 w 2522"/>
              <a:gd name="T91" fmla="*/ 1059 h 2352"/>
              <a:gd name="T92" fmla="*/ 2075 w 2522"/>
              <a:gd name="T93" fmla="*/ 1620 h 2352"/>
              <a:gd name="T94" fmla="*/ 2144 w 2522"/>
              <a:gd name="T95" fmla="*/ 1975 h 23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2522" h="2352">
                <a:moveTo>
                  <a:pt x="63" y="759"/>
                </a:moveTo>
                <a:cubicBezTo>
                  <a:pt x="216" y="879"/>
                  <a:pt x="216" y="879"/>
                  <a:pt x="216" y="879"/>
                </a:cubicBezTo>
                <a:cubicBezTo>
                  <a:pt x="72" y="1155"/>
                  <a:pt x="72" y="1155"/>
                  <a:pt x="72" y="1155"/>
                </a:cubicBezTo>
                <a:cubicBezTo>
                  <a:pt x="0" y="1282"/>
                  <a:pt x="124" y="1406"/>
                  <a:pt x="202" y="1450"/>
                </a:cubicBezTo>
                <a:cubicBezTo>
                  <a:pt x="280" y="1492"/>
                  <a:pt x="401" y="1497"/>
                  <a:pt x="513" y="1496"/>
                </a:cubicBezTo>
                <a:cubicBezTo>
                  <a:pt x="716" y="1164"/>
                  <a:pt x="716" y="1164"/>
                  <a:pt x="716" y="1164"/>
                </a:cubicBezTo>
                <a:cubicBezTo>
                  <a:pt x="869" y="1247"/>
                  <a:pt x="869" y="1247"/>
                  <a:pt x="869" y="1247"/>
                </a:cubicBezTo>
                <a:cubicBezTo>
                  <a:pt x="604" y="754"/>
                  <a:pt x="604" y="754"/>
                  <a:pt x="604" y="754"/>
                </a:cubicBezTo>
                <a:lnTo>
                  <a:pt x="63" y="759"/>
                </a:lnTo>
                <a:close/>
                <a:moveTo>
                  <a:pt x="85" y="1435"/>
                </a:moveTo>
                <a:cubicBezTo>
                  <a:pt x="414" y="2043"/>
                  <a:pt x="414" y="2043"/>
                  <a:pt x="414" y="2043"/>
                </a:cubicBezTo>
                <a:cubicBezTo>
                  <a:pt x="480" y="2127"/>
                  <a:pt x="605" y="2147"/>
                  <a:pt x="734" y="2144"/>
                </a:cubicBezTo>
                <a:cubicBezTo>
                  <a:pt x="1081" y="2144"/>
                  <a:pt x="1081" y="2144"/>
                  <a:pt x="1081" y="2144"/>
                </a:cubicBezTo>
                <a:cubicBezTo>
                  <a:pt x="1081" y="1569"/>
                  <a:pt x="1081" y="1569"/>
                  <a:pt x="1081" y="1569"/>
                </a:cubicBezTo>
                <a:cubicBezTo>
                  <a:pt x="423" y="1564"/>
                  <a:pt x="423" y="1564"/>
                  <a:pt x="423" y="1564"/>
                </a:cubicBezTo>
                <a:cubicBezTo>
                  <a:pt x="321" y="1570"/>
                  <a:pt x="187" y="1549"/>
                  <a:pt x="85" y="1435"/>
                </a:cubicBezTo>
                <a:close/>
                <a:moveTo>
                  <a:pt x="2155" y="315"/>
                </a:moveTo>
                <a:cubicBezTo>
                  <a:pt x="1976" y="391"/>
                  <a:pt x="1976" y="391"/>
                  <a:pt x="1976" y="391"/>
                </a:cubicBezTo>
                <a:cubicBezTo>
                  <a:pt x="1804" y="131"/>
                  <a:pt x="1804" y="131"/>
                  <a:pt x="1804" y="131"/>
                </a:cubicBezTo>
                <a:cubicBezTo>
                  <a:pt x="1728" y="6"/>
                  <a:pt x="1559" y="54"/>
                  <a:pt x="1483" y="102"/>
                </a:cubicBezTo>
                <a:cubicBezTo>
                  <a:pt x="1409" y="150"/>
                  <a:pt x="1346" y="253"/>
                  <a:pt x="1292" y="352"/>
                </a:cubicBezTo>
                <a:cubicBezTo>
                  <a:pt x="1484" y="690"/>
                  <a:pt x="1484" y="690"/>
                  <a:pt x="1484" y="690"/>
                </a:cubicBezTo>
                <a:cubicBezTo>
                  <a:pt x="1337" y="784"/>
                  <a:pt x="1337" y="784"/>
                  <a:pt x="1337" y="784"/>
                </a:cubicBezTo>
                <a:cubicBezTo>
                  <a:pt x="1897" y="790"/>
                  <a:pt x="1897" y="790"/>
                  <a:pt x="1897" y="790"/>
                </a:cubicBezTo>
                <a:lnTo>
                  <a:pt x="2155" y="315"/>
                </a:lnTo>
                <a:close/>
                <a:moveTo>
                  <a:pt x="1553" y="7"/>
                </a:moveTo>
                <a:cubicBezTo>
                  <a:pt x="862" y="0"/>
                  <a:pt x="862" y="0"/>
                  <a:pt x="862" y="0"/>
                </a:cubicBezTo>
                <a:cubicBezTo>
                  <a:pt x="756" y="17"/>
                  <a:pt x="678" y="116"/>
                  <a:pt x="618" y="231"/>
                </a:cubicBezTo>
                <a:cubicBezTo>
                  <a:pt x="450" y="534"/>
                  <a:pt x="450" y="534"/>
                  <a:pt x="450" y="534"/>
                </a:cubicBezTo>
                <a:cubicBezTo>
                  <a:pt x="953" y="813"/>
                  <a:pt x="953" y="813"/>
                  <a:pt x="953" y="813"/>
                </a:cubicBezTo>
                <a:cubicBezTo>
                  <a:pt x="1276" y="240"/>
                  <a:pt x="1276" y="240"/>
                  <a:pt x="1276" y="240"/>
                </a:cubicBezTo>
                <a:cubicBezTo>
                  <a:pt x="1320" y="148"/>
                  <a:pt x="1404" y="41"/>
                  <a:pt x="1553" y="7"/>
                </a:cubicBezTo>
                <a:close/>
                <a:moveTo>
                  <a:pt x="1583" y="2352"/>
                </a:moveTo>
                <a:cubicBezTo>
                  <a:pt x="1603" y="2159"/>
                  <a:pt x="1603" y="2159"/>
                  <a:pt x="1603" y="2159"/>
                </a:cubicBezTo>
                <a:cubicBezTo>
                  <a:pt x="1914" y="2135"/>
                  <a:pt x="1914" y="2135"/>
                  <a:pt x="1914" y="2135"/>
                </a:cubicBezTo>
                <a:cubicBezTo>
                  <a:pt x="2060" y="2128"/>
                  <a:pt x="2100" y="1957"/>
                  <a:pt x="2095" y="1868"/>
                </a:cubicBezTo>
                <a:cubicBezTo>
                  <a:pt x="2089" y="1779"/>
                  <a:pt x="2030" y="1674"/>
                  <a:pt x="1969" y="1580"/>
                </a:cubicBezTo>
                <a:cubicBezTo>
                  <a:pt x="1580" y="1583"/>
                  <a:pt x="1580" y="1583"/>
                  <a:pt x="1580" y="1583"/>
                </a:cubicBezTo>
                <a:cubicBezTo>
                  <a:pt x="1569" y="1409"/>
                  <a:pt x="1569" y="1409"/>
                  <a:pt x="1569" y="1409"/>
                </a:cubicBezTo>
                <a:cubicBezTo>
                  <a:pt x="1292" y="1896"/>
                  <a:pt x="1292" y="1896"/>
                  <a:pt x="1292" y="1896"/>
                </a:cubicBezTo>
                <a:lnTo>
                  <a:pt x="1583" y="2352"/>
                </a:lnTo>
                <a:close/>
                <a:moveTo>
                  <a:pt x="2144" y="1975"/>
                </a:moveTo>
                <a:cubicBezTo>
                  <a:pt x="2486" y="1374"/>
                  <a:pt x="2486" y="1374"/>
                  <a:pt x="2486" y="1374"/>
                </a:cubicBezTo>
                <a:cubicBezTo>
                  <a:pt x="2522" y="1273"/>
                  <a:pt x="2473" y="1156"/>
                  <a:pt x="2402" y="1048"/>
                </a:cubicBezTo>
                <a:cubicBezTo>
                  <a:pt x="2218" y="754"/>
                  <a:pt x="2218" y="754"/>
                  <a:pt x="2218" y="754"/>
                </a:cubicBezTo>
                <a:cubicBezTo>
                  <a:pt x="1730" y="1059"/>
                  <a:pt x="1730" y="1059"/>
                  <a:pt x="1730" y="1059"/>
                </a:cubicBezTo>
                <a:cubicBezTo>
                  <a:pt x="2075" y="1620"/>
                  <a:pt x="2075" y="1620"/>
                  <a:pt x="2075" y="1620"/>
                </a:cubicBezTo>
                <a:cubicBezTo>
                  <a:pt x="2134" y="1703"/>
                  <a:pt x="2187" y="1828"/>
                  <a:pt x="2144" y="1975"/>
                </a:cubicBezTo>
                <a:close/>
              </a:path>
            </a:pathLst>
          </a:custGeom>
          <a:solidFill>
            <a:srgbClr val="293D6D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>
              <a:defRPr/>
            </a:pPr>
            <a:endParaRPr lang="ru-RU" sz="1800" kern="0">
              <a:solidFill>
                <a:srgbClr val="333333"/>
              </a:solidFill>
              <a:latin typeface="Arial"/>
            </a:endParaRPr>
          </a:p>
        </p:txBody>
      </p:sp>
      <p:sp>
        <p:nvSpPr>
          <p:cNvPr id="73" name="Текст 7">
            <a:extLst>
              <a:ext uri="{FF2B5EF4-FFF2-40B4-BE49-F238E27FC236}">
                <a16:creationId xmlns:a16="http://schemas.microsoft.com/office/drawing/2014/main" id="{D0408FF4-B09A-AD6B-965B-53747BD63C21}"/>
              </a:ext>
            </a:extLst>
          </p:cNvPr>
          <p:cNvSpPr txBox="1">
            <a:spLocks/>
          </p:cNvSpPr>
          <p:nvPr/>
        </p:nvSpPr>
        <p:spPr>
          <a:xfrm>
            <a:off x="9854258" y="4014798"/>
            <a:ext cx="1882859" cy="556378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ru-RU" sz="1400" dirty="0">
                <a:solidFill>
                  <a:srgbClr val="293D6D"/>
                </a:solidFill>
                <a:latin typeface="Arial" panose="020B0604020202020204"/>
                <a:ea typeface="+mn-ea"/>
              </a:rPr>
              <a:t>Всего </a:t>
            </a:r>
          </a:p>
          <a:p>
            <a:pPr>
              <a:spcBef>
                <a:spcPts val="0"/>
              </a:spcBef>
              <a:defRPr/>
            </a:pPr>
            <a:r>
              <a:rPr lang="pt-BR" sz="2000" dirty="0">
                <a:solidFill>
                  <a:srgbClr val="293D6D"/>
                </a:solidFill>
              </a:rPr>
              <a:t>8-10%</a:t>
            </a:r>
            <a:r>
              <a:rPr lang="ru-RU" sz="1400" dirty="0">
                <a:solidFill>
                  <a:srgbClr val="293D6D"/>
                </a:solidFill>
              </a:rPr>
              <a:t> ЗШО</a:t>
            </a:r>
            <a:endParaRPr lang="ru-RU" sz="2000" dirty="0">
              <a:solidFill>
                <a:srgbClr val="293D6D"/>
              </a:solidFill>
            </a:endParaRPr>
          </a:p>
          <a:p>
            <a:pPr>
              <a:spcBef>
                <a:spcPts val="0"/>
              </a:spcBef>
              <a:defRPr/>
            </a:pPr>
            <a:r>
              <a:rPr lang="ru-RU" dirty="0">
                <a:solidFill>
                  <a:srgbClr val="333333"/>
                </a:solidFill>
              </a:rPr>
              <a:t>утилизируется и используется</a:t>
            </a:r>
          </a:p>
        </p:txBody>
      </p:sp>
    </p:spTree>
    <p:extLst>
      <p:ext uri="{BB962C8B-B14F-4D97-AF65-F5344CB8AC3E}">
        <p14:creationId xmlns:p14="http://schemas.microsoft.com/office/powerpoint/2010/main" val="34715349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4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468000" y="360000"/>
            <a:ext cx="8217762" cy="4617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1" b="1" dirty="0" smtClean="0">
                <a:solidFill>
                  <a:srgbClr val="26304D"/>
                </a:solidFill>
                <a:ea typeface="Rosatom" panose="020B0503040504020204" pitchFamily="34" charset="-52"/>
                <a:cs typeface="Golos Text" panose="020B0503020202020204" pitchFamily="34" charset="-52"/>
              </a:rPr>
              <a:t>Нормативное регулирование  </a:t>
            </a:r>
            <a:r>
              <a:rPr lang="ru-RU" sz="2401" b="1" dirty="0">
                <a:solidFill>
                  <a:srgbClr val="26304D"/>
                </a:solidFill>
                <a:ea typeface="Rosatom" panose="020B0503040504020204" pitchFamily="34" charset="-52"/>
                <a:cs typeface="Golos Text" panose="020B0503020202020204" pitchFamily="34" charset="-52"/>
              </a:rPr>
              <a:t>применения ЗШС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BDE9107-F596-F1B7-2F82-2E61E2C5659C}"/>
              </a:ext>
            </a:extLst>
          </p:cNvPr>
          <p:cNvSpPr txBox="1"/>
          <p:nvPr/>
        </p:nvSpPr>
        <p:spPr>
          <a:xfrm>
            <a:off x="2787687" y="974652"/>
            <a:ext cx="8605244" cy="52629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Char char="-"/>
            </a:pPr>
            <a:r>
              <a:rPr lang="ru-RU" sz="1400" b="1" dirty="0">
                <a:solidFill>
                  <a:srgbClr val="4B6B9B"/>
                </a:solidFill>
              </a:rPr>
              <a:t>Энергетическая Стратегия Российской Федерации на период до 2035г</a:t>
            </a:r>
            <a:r>
              <a:rPr lang="ru-RU" sz="1400" b="1" dirty="0" smtClean="0">
                <a:solidFill>
                  <a:srgbClr val="4B6B9B"/>
                </a:solidFill>
              </a:rPr>
              <a:t>.</a:t>
            </a:r>
          </a:p>
          <a:p>
            <a:pPr marL="342900" indent="-342900">
              <a:buFontTx/>
              <a:buChar char="-"/>
            </a:pPr>
            <a:endParaRPr lang="ru-RU" sz="1400" b="1" dirty="0">
              <a:solidFill>
                <a:srgbClr val="4B6B9B"/>
              </a:solidFill>
            </a:endParaRPr>
          </a:p>
          <a:p>
            <a:pPr marL="342900" indent="-342900">
              <a:buFontTx/>
              <a:buChar char="-"/>
            </a:pPr>
            <a:r>
              <a:rPr lang="ru-RU" sz="1400" b="1" dirty="0">
                <a:solidFill>
                  <a:srgbClr val="4B6B9B"/>
                </a:solidFill>
              </a:rPr>
              <a:t>Комплексный план по повышению объемов утилизации золошлаковых отходов </a:t>
            </a:r>
            <a:r>
              <a:rPr lang="ru-RU" sz="1400" b="1" dirty="0" smtClean="0">
                <a:solidFill>
                  <a:srgbClr val="4B6B9B"/>
                </a:solidFill>
              </a:rPr>
              <a:t>V класса опасности</a:t>
            </a:r>
          </a:p>
          <a:p>
            <a:pPr marL="342900" indent="-342900">
              <a:buFontTx/>
              <a:buChar char="-"/>
            </a:pPr>
            <a:endParaRPr lang="ru-RU" sz="1400" b="1" dirty="0" smtClean="0">
              <a:solidFill>
                <a:srgbClr val="4B6B9B"/>
              </a:solidFill>
            </a:endParaRPr>
          </a:p>
          <a:p>
            <a:pPr marL="342900" indent="-342900">
              <a:buFontTx/>
              <a:buChar char="-"/>
            </a:pPr>
            <a:r>
              <a:rPr lang="ru-RU" sz="1400" b="1" dirty="0" smtClean="0">
                <a:solidFill>
                  <a:srgbClr val="4B6B9B"/>
                </a:solidFill>
              </a:rPr>
              <a:t>Федеральный </a:t>
            </a:r>
            <a:r>
              <a:rPr lang="ru-RU" sz="1400" b="1" dirty="0">
                <a:solidFill>
                  <a:srgbClr val="4B6B9B"/>
                </a:solidFill>
              </a:rPr>
              <a:t>закон от 24.06.19982 № 89-ФЗ (с изм. и доп., вступ. в силу с 01.03.2023) «Об отходах производства и потребления</a:t>
            </a:r>
            <a:r>
              <a:rPr lang="ru-RU" sz="1400" b="1" dirty="0" smtClean="0">
                <a:solidFill>
                  <a:srgbClr val="4B6B9B"/>
                </a:solidFill>
              </a:rPr>
              <a:t>»</a:t>
            </a:r>
          </a:p>
          <a:p>
            <a:pPr marL="342900" indent="-342900">
              <a:buFontTx/>
              <a:buChar char="-"/>
            </a:pPr>
            <a:endParaRPr lang="ru-RU" sz="1400" b="1" dirty="0" smtClean="0">
              <a:solidFill>
                <a:srgbClr val="4B6B9B"/>
              </a:solidFill>
            </a:endParaRPr>
          </a:p>
          <a:p>
            <a:pPr marL="342900" indent="-342900">
              <a:buFontTx/>
              <a:buChar char="-"/>
            </a:pPr>
            <a:r>
              <a:rPr lang="ru-RU" sz="1400" b="1" dirty="0">
                <a:solidFill>
                  <a:srgbClr val="4B6B9B"/>
                </a:solidFill>
              </a:rPr>
              <a:t>Стратегия развития промышленности по обработке, утилизации и обезвреживанию отходов производства и потребления на период до 2030 года</a:t>
            </a:r>
            <a:endParaRPr lang="ru-RU" sz="1400" b="1" dirty="0" smtClean="0">
              <a:solidFill>
                <a:srgbClr val="4B6B9B"/>
              </a:solidFill>
            </a:endParaRPr>
          </a:p>
          <a:p>
            <a:r>
              <a:rPr lang="ru-RU" sz="1400" b="1" dirty="0" smtClean="0">
                <a:solidFill>
                  <a:srgbClr val="4B6B9B"/>
                </a:solidFill>
              </a:rPr>
              <a:t>	</a:t>
            </a:r>
            <a:endParaRPr lang="ru-RU" sz="1400" b="1" dirty="0">
              <a:solidFill>
                <a:srgbClr val="4B6B9B"/>
              </a:solidFill>
            </a:endParaRPr>
          </a:p>
          <a:p>
            <a:pPr marL="342900" indent="-342900">
              <a:buFontTx/>
              <a:buChar char="-"/>
            </a:pPr>
            <a:r>
              <a:rPr lang="ru-RU" sz="1400" b="1" dirty="0" smtClean="0">
                <a:solidFill>
                  <a:srgbClr val="4B6B9B"/>
                </a:solidFill>
              </a:rPr>
              <a:t>Региональная программа повышения объемов </a:t>
            </a:r>
            <a:r>
              <a:rPr lang="ru-RU" sz="1400" b="1" dirty="0">
                <a:solidFill>
                  <a:srgbClr val="4B6B9B"/>
                </a:solidFill>
              </a:rPr>
              <a:t>утилизации золошлаковых отходов V класса </a:t>
            </a:r>
            <a:r>
              <a:rPr lang="ru-RU" sz="1400" b="1" dirty="0" smtClean="0">
                <a:solidFill>
                  <a:srgbClr val="4B6B9B"/>
                </a:solidFill>
              </a:rPr>
              <a:t>опасности в Томской области</a:t>
            </a:r>
            <a:endParaRPr lang="ru-RU" sz="1400" b="1" dirty="0">
              <a:solidFill>
                <a:srgbClr val="4B6B9B"/>
              </a:solidFill>
            </a:endParaRPr>
          </a:p>
          <a:p>
            <a:pPr marL="342900" indent="-342900">
              <a:buFontTx/>
              <a:buChar char="-"/>
            </a:pPr>
            <a:endParaRPr lang="ru-RU" sz="1400" b="1" dirty="0">
              <a:solidFill>
                <a:srgbClr val="4B6B9B"/>
              </a:solidFill>
            </a:endParaRPr>
          </a:p>
          <a:p>
            <a:pPr marL="342900" indent="-342900">
              <a:buFontTx/>
              <a:buChar char="-"/>
            </a:pPr>
            <a:r>
              <a:rPr lang="ru-RU" sz="1400" b="1" dirty="0">
                <a:solidFill>
                  <a:srgbClr val="4B6B9B"/>
                </a:solidFill>
              </a:rPr>
              <a:t>ОДМ 218.2.031–2013 «Методические рекомендации по применению золы уноса и золошлаковых смесей от сжигания угля на тепловых электростанциях в дорожном строительстве</a:t>
            </a:r>
            <a:r>
              <a:rPr lang="ru-RU" sz="1400" b="1" dirty="0" smtClean="0">
                <a:solidFill>
                  <a:srgbClr val="4B6B9B"/>
                </a:solidFill>
              </a:rPr>
              <a:t>»</a:t>
            </a:r>
          </a:p>
          <a:p>
            <a:pPr marL="342900" indent="-342900">
              <a:buFontTx/>
              <a:buChar char="-"/>
            </a:pPr>
            <a:endParaRPr lang="ru-RU" sz="1400" b="1" dirty="0">
              <a:solidFill>
                <a:srgbClr val="4B6B9B"/>
              </a:solidFill>
            </a:endParaRPr>
          </a:p>
          <a:p>
            <a:pPr marL="342900" indent="-342900">
              <a:buFontTx/>
              <a:buChar char="-"/>
            </a:pPr>
            <a:r>
              <a:rPr lang="ru-RU" sz="1400" b="1" dirty="0" smtClean="0">
                <a:solidFill>
                  <a:srgbClr val="4B6B9B"/>
                </a:solidFill>
              </a:rPr>
              <a:t>ГОСТ 25100-2020 «Грунты. Классификация»</a:t>
            </a:r>
          </a:p>
          <a:p>
            <a:pPr marL="342900" indent="-342900">
              <a:buFontTx/>
              <a:buChar char="-"/>
            </a:pPr>
            <a:endParaRPr lang="ru-RU" sz="1400" b="1" dirty="0" smtClean="0">
              <a:solidFill>
                <a:srgbClr val="4B6B9B"/>
              </a:solidFill>
            </a:endParaRPr>
          </a:p>
          <a:p>
            <a:pPr marL="342900" indent="-342900">
              <a:buFontTx/>
              <a:buChar char="-"/>
            </a:pPr>
            <a:r>
              <a:rPr lang="ru-RU" sz="1400" b="1" dirty="0" smtClean="0">
                <a:solidFill>
                  <a:srgbClr val="4B6B9B"/>
                </a:solidFill>
              </a:rPr>
              <a:t>ГОСТ 25592-2019 «Смеси золошлаковые тепловых электростанций для бетонов»</a:t>
            </a:r>
          </a:p>
          <a:p>
            <a:pPr marL="342900" indent="-342900">
              <a:buFontTx/>
              <a:buChar char="-"/>
            </a:pPr>
            <a:endParaRPr lang="ru-RU" sz="1400" b="1" dirty="0" smtClean="0">
              <a:solidFill>
                <a:srgbClr val="4B6B9B"/>
              </a:solidFill>
            </a:endParaRPr>
          </a:p>
          <a:p>
            <a:pPr marL="342900" indent="-342900">
              <a:buFontTx/>
              <a:buChar char="-"/>
            </a:pPr>
            <a:r>
              <a:rPr lang="ru-RU" sz="1400" b="1" dirty="0" smtClean="0">
                <a:solidFill>
                  <a:srgbClr val="4B6B9B"/>
                </a:solidFill>
              </a:rPr>
              <a:t>ГОСТ 57789-2017 «Золы, шлаки и золошлаковые смеси ТЭС для производства искусственных  пористых заполнителей»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7C9E8AF4-2748-9BC7-1CDD-691487EC8929}"/>
              </a:ext>
            </a:extLst>
          </p:cNvPr>
          <p:cNvGrpSpPr/>
          <p:nvPr/>
        </p:nvGrpSpPr>
        <p:grpSpPr>
          <a:xfrm>
            <a:off x="475316" y="2059601"/>
            <a:ext cx="2198216" cy="2494982"/>
            <a:chOff x="8240674" y="1392106"/>
            <a:chExt cx="301444" cy="371308"/>
          </a:xfrm>
        </p:grpSpPr>
        <p:sp>
          <p:nvSpPr>
            <p:cNvPr id="10" name="Freeform 26">
              <a:extLst>
                <a:ext uri="{FF2B5EF4-FFF2-40B4-BE49-F238E27FC236}">
                  <a16:creationId xmlns:a16="http://schemas.microsoft.com/office/drawing/2014/main" id="{9208DCC9-E9F6-CCE2-B284-EE6B21A91E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240674" y="1392106"/>
              <a:ext cx="301444" cy="371308"/>
            </a:xfrm>
            <a:custGeom>
              <a:avLst/>
              <a:gdLst>
                <a:gd name="T0" fmla="*/ 572 w 616"/>
                <a:gd name="T1" fmla="*/ 0 h 759"/>
                <a:gd name="T2" fmla="*/ 44 w 616"/>
                <a:gd name="T3" fmla="*/ 0 h 759"/>
                <a:gd name="T4" fmla="*/ 0 w 616"/>
                <a:gd name="T5" fmla="*/ 44 h 759"/>
                <a:gd name="T6" fmla="*/ 0 w 616"/>
                <a:gd name="T7" fmla="*/ 106 h 759"/>
                <a:gd name="T8" fmla="*/ 0 w 616"/>
                <a:gd name="T9" fmla="*/ 168 h 759"/>
                <a:gd name="T10" fmla="*/ 0 w 616"/>
                <a:gd name="T11" fmla="*/ 590 h 759"/>
                <a:gd name="T12" fmla="*/ 35 w 616"/>
                <a:gd name="T13" fmla="*/ 643 h 759"/>
                <a:gd name="T14" fmla="*/ 308 w 616"/>
                <a:gd name="T15" fmla="*/ 759 h 759"/>
                <a:gd name="T16" fmla="*/ 581 w 616"/>
                <a:gd name="T17" fmla="*/ 643 h 759"/>
                <a:gd name="T18" fmla="*/ 616 w 616"/>
                <a:gd name="T19" fmla="*/ 590 h 759"/>
                <a:gd name="T20" fmla="*/ 616 w 616"/>
                <a:gd name="T21" fmla="*/ 168 h 759"/>
                <a:gd name="T22" fmla="*/ 616 w 616"/>
                <a:gd name="T23" fmla="*/ 106 h 759"/>
                <a:gd name="T24" fmla="*/ 616 w 616"/>
                <a:gd name="T25" fmla="*/ 44 h 759"/>
                <a:gd name="T26" fmla="*/ 572 w 616"/>
                <a:gd name="T27" fmla="*/ 0 h 7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6" h="759">
                  <a:moveTo>
                    <a:pt x="572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590"/>
                    <a:pt x="0" y="590"/>
                    <a:pt x="0" y="590"/>
                  </a:cubicBezTo>
                  <a:cubicBezTo>
                    <a:pt x="0" y="613"/>
                    <a:pt x="14" y="634"/>
                    <a:pt x="35" y="643"/>
                  </a:cubicBezTo>
                  <a:cubicBezTo>
                    <a:pt x="308" y="759"/>
                    <a:pt x="308" y="759"/>
                    <a:pt x="308" y="759"/>
                  </a:cubicBezTo>
                  <a:cubicBezTo>
                    <a:pt x="581" y="643"/>
                    <a:pt x="581" y="643"/>
                    <a:pt x="581" y="643"/>
                  </a:cubicBezTo>
                  <a:cubicBezTo>
                    <a:pt x="602" y="634"/>
                    <a:pt x="616" y="613"/>
                    <a:pt x="616" y="590"/>
                  </a:cubicBezTo>
                  <a:cubicBezTo>
                    <a:pt x="616" y="168"/>
                    <a:pt x="616" y="168"/>
                    <a:pt x="616" y="168"/>
                  </a:cubicBezTo>
                  <a:cubicBezTo>
                    <a:pt x="616" y="106"/>
                    <a:pt x="616" y="106"/>
                    <a:pt x="616" y="106"/>
                  </a:cubicBezTo>
                  <a:cubicBezTo>
                    <a:pt x="616" y="44"/>
                    <a:pt x="616" y="44"/>
                    <a:pt x="616" y="44"/>
                  </a:cubicBezTo>
                  <a:cubicBezTo>
                    <a:pt x="616" y="20"/>
                    <a:pt x="596" y="0"/>
                    <a:pt x="572" y="0"/>
                  </a:cubicBezTo>
                  <a:close/>
                </a:path>
              </a:pathLst>
            </a:custGeom>
            <a:solidFill>
              <a:srgbClr val="293D6D"/>
            </a:solidFill>
            <a:ln>
              <a:noFill/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pPr defTabSz="913554">
                <a:defRPr/>
              </a:pPr>
              <a:endParaRPr lang="ru-RU" sz="1799" kern="0">
                <a:solidFill>
                  <a:srgbClr val="333333"/>
                </a:solidFill>
                <a:latin typeface="Arial" panose="020B0604020202020204"/>
              </a:endParaRPr>
            </a:p>
          </p:txBody>
        </p:sp>
        <p:sp>
          <p:nvSpPr>
            <p:cNvPr id="11" name="Freeform 18">
              <a:extLst>
                <a:ext uri="{FF2B5EF4-FFF2-40B4-BE49-F238E27FC236}">
                  <a16:creationId xmlns:a16="http://schemas.microsoft.com/office/drawing/2014/main" id="{C3D2BC95-BE6E-B67A-5437-4C4D41EA755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8270742" y="1420616"/>
              <a:ext cx="241308" cy="263486"/>
            </a:xfrm>
            <a:custGeom>
              <a:avLst/>
              <a:gdLst>
                <a:gd name="T0" fmla="*/ 510 w 7184"/>
                <a:gd name="T1" fmla="*/ 4749 h 7845"/>
                <a:gd name="T2" fmla="*/ 804 w 7184"/>
                <a:gd name="T3" fmla="*/ 2044 h 7845"/>
                <a:gd name="T4" fmla="*/ 2595 w 7184"/>
                <a:gd name="T5" fmla="*/ 3705 h 7845"/>
                <a:gd name="T6" fmla="*/ 2123 w 7184"/>
                <a:gd name="T7" fmla="*/ 2430 h 7845"/>
                <a:gd name="T8" fmla="*/ 1823 w 7184"/>
                <a:gd name="T9" fmla="*/ 1294 h 7845"/>
                <a:gd name="T10" fmla="*/ 1409 w 7184"/>
                <a:gd name="T11" fmla="*/ 1127 h 7845"/>
                <a:gd name="T12" fmla="*/ 2543 w 7184"/>
                <a:gd name="T13" fmla="*/ 799 h 7845"/>
                <a:gd name="T14" fmla="*/ 3401 w 7184"/>
                <a:gd name="T15" fmla="*/ 440 h 7845"/>
                <a:gd name="T16" fmla="*/ 3939 w 7184"/>
                <a:gd name="T17" fmla="*/ 1311 h 7845"/>
                <a:gd name="T18" fmla="*/ 4941 w 7184"/>
                <a:gd name="T19" fmla="*/ 1481 h 7845"/>
                <a:gd name="T20" fmla="*/ 6119 w 7184"/>
                <a:gd name="T21" fmla="*/ 1655 h 7845"/>
                <a:gd name="T22" fmla="*/ 5142 w 7184"/>
                <a:gd name="T23" fmla="*/ 1714 h 7845"/>
                <a:gd name="T24" fmla="*/ 4247 w 7184"/>
                <a:gd name="T25" fmla="*/ 2824 h 7845"/>
                <a:gd name="T26" fmla="*/ 5089 w 7184"/>
                <a:gd name="T27" fmla="*/ 3688 h 7845"/>
                <a:gd name="T28" fmla="*/ 6890 w 7184"/>
                <a:gd name="T29" fmla="*/ 2087 h 7845"/>
                <a:gd name="T30" fmla="*/ 5751 w 7184"/>
                <a:gd name="T31" fmla="*/ 5087 h 7845"/>
                <a:gd name="T32" fmla="*/ 5033 w 7184"/>
                <a:gd name="T33" fmla="*/ 5470 h 7845"/>
                <a:gd name="T34" fmla="*/ 5650 w 7184"/>
                <a:gd name="T35" fmla="*/ 5735 h 7845"/>
                <a:gd name="T36" fmla="*/ 5852 w 7184"/>
                <a:gd name="T37" fmla="*/ 6665 h 7845"/>
                <a:gd name="T38" fmla="*/ 3902 w 7184"/>
                <a:gd name="T39" fmla="*/ 6097 h 7845"/>
                <a:gd name="T40" fmla="*/ 4188 w 7184"/>
                <a:gd name="T41" fmla="*/ 7442 h 7845"/>
                <a:gd name="T42" fmla="*/ 2394 w 7184"/>
                <a:gd name="T43" fmla="*/ 6631 h 7845"/>
                <a:gd name="T44" fmla="*/ 2739 w 7184"/>
                <a:gd name="T45" fmla="*/ 6343 h 7845"/>
                <a:gd name="T46" fmla="*/ 597 w 7184"/>
                <a:gd name="T47" fmla="*/ 4624 h 7845"/>
                <a:gd name="T48" fmla="*/ 2282 w 7184"/>
                <a:gd name="T49" fmla="*/ 6145 h 7845"/>
                <a:gd name="T50" fmla="*/ 2528 w 7184"/>
                <a:gd name="T51" fmla="*/ 4616 h 7845"/>
                <a:gd name="T52" fmla="*/ 3905 w 7184"/>
                <a:gd name="T53" fmla="*/ 2153 h 7845"/>
                <a:gd name="T54" fmla="*/ 4191 w 7184"/>
                <a:gd name="T55" fmla="*/ 3861 h 7845"/>
                <a:gd name="T56" fmla="*/ 4343 w 7184"/>
                <a:gd name="T57" fmla="*/ 4588 h 7845"/>
                <a:gd name="T58" fmla="*/ 4258 w 7184"/>
                <a:gd name="T59" fmla="*/ 5319 h 7845"/>
                <a:gd name="T60" fmla="*/ 3221 w 7184"/>
                <a:gd name="T61" fmla="*/ 4157 h 7845"/>
                <a:gd name="T62" fmla="*/ 2896 w 7184"/>
                <a:gd name="T63" fmla="*/ 5093 h 7845"/>
                <a:gd name="T64" fmla="*/ 3282 w 7184"/>
                <a:gd name="T65" fmla="*/ 5413 h 7845"/>
                <a:gd name="T66" fmla="*/ 3812 w 7184"/>
                <a:gd name="T67" fmla="*/ 4831 h 7845"/>
                <a:gd name="T68" fmla="*/ 3790 w 7184"/>
                <a:gd name="T69" fmla="*/ 6881 h 7845"/>
                <a:gd name="T70" fmla="*/ 3223 w 7184"/>
                <a:gd name="T71" fmla="*/ 6329 h 7845"/>
                <a:gd name="T72" fmla="*/ 2946 w 7184"/>
                <a:gd name="T73" fmla="*/ 4589 h 7845"/>
                <a:gd name="T74" fmla="*/ 3296 w 7184"/>
                <a:gd name="T75" fmla="*/ 3643 h 7845"/>
                <a:gd name="T76" fmla="*/ 3479 w 7184"/>
                <a:gd name="T77" fmla="*/ 7523 h 7845"/>
                <a:gd name="T78" fmla="*/ 3736 w 7184"/>
                <a:gd name="T79" fmla="*/ 6525 h 7845"/>
                <a:gd name="T80" fmla="*/ 3839 w 7184"/>
                <a:gd name="T81" fmla="*/ 2687 h 7845"/>
                <a:gd name="T82" fmla="*/ 2850 w 7184"/>
                <a:gd name="T83" fmla="*/ 6823 h 7845"/>
                <a:gd name="T84" fmla="*/ 3208 w 7184"/>
                <a:gd name="T85" fmla="*/ 3030 h 7845"/>
                <a:gd name="T86" fmla="*/ 5530 w 7184"/>
                <a:gd name="T87" fmla="*/ 2960 h 7845"/>
                <a:gd name="T88" fmla="*/ 4810 w 7184"/>
                <a:gd name="T89" fmla="*/ 5567 h 7845"/>
                <a:gd name="T90" fmla="*/ 2803 w 7184"/>
                <a:gd name="T91" fmla="*/ 2347 h 7845"/>
                <a:gd name="T92" fmla="*/ 6128 w 7184"/>
                <a:gd name="T93" fmla="*/ 3832 h 7845"/>
                <a:gd name="T94" fmla="*/ 4617 w 7184"/>
                <a:gd name="T95" fmla="*/ 2093 h 7845"/>
                <a:gd name="T96" fmla="*/ 1290 w 7184"/>
                <a:gd name="T97" fmla="*/ 3834 h 7845"/>
                <a:gd name="T98" fmla="*/ 896 w 7184"/>
                <a:gd name="T99" fmla="*/ 3388 h 7845"/>
                <a:gd name="T100" fmla="*/ 4060 w 7184"/>
                <a:gd name="T101" fmla="*/ 2457 h 7845"/>
                <a:gd name="T102" fmla="*/ 1943 w 7184"/>
                <a:gd name="T103" fmla="*/ 4145 h 7845"/>
                <a:gd name="T104" fmla="*/ 2749 w 7184"/>
                <a:gd name="T105" fmla="*/ 7152 h 7845"/>
                <a:gd name="T106" fmla="*/ 2279 w 7184"/>
                <a:gd name="T107" fmla="*/ 5868 h 7845"/>
                <a:gd name="T108" fmla="*/ 5483 w 7184"/>
                <a:gd name="T109" fmla="*/ 3438 h 7845"/>
                <a:gd name="T110" fmla="*/ 2429 w 7184"/>
                <a:gd name="T111" fmla="*/ 4167 h 7845"/>
                <a:gd name="T112" fmla="*/ 4481 w 7184"/>
                <a:gd name="T113" fmla="*/ 5829 h 7845"/>
                <a:gd name="T114" fmla="*/ 2727 w 7184"/>
                <a:gd name="T115" fmla="*/ 1455 h 7845"/>
                <a:gd name="T116" fmla="*/ 4494 w 7184"/>
                <a:gd name="T117" fmla="*/ 6221 h 7845"/>
                <a:gd name="T118" fmla="*/ 1313 w 7184"/>
                <a:gd name="T119" fmla="*/ 6661 h 7845"/>
                <a:gd name="T120" fmla="*/ 6057 w 7184"/>
                <a:gd name="T121" fmla="*/ 6387 h 7845"/>
                <a:gd name="T122" fmla="*/ 2774 w 7184"/>
                <a:gd name="T123" fmla="*/ 4564 h 7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184" h="7845">
                  <a:moveTo>
                    <a:pt x="1538" y="6732"/>
                  </a:moveTo>
                  <a:cubicBezTo>
                    <a:pt x="1555" y="6785"/>
                    <a:pt x="1554" y="6841"/>
                    <a:pt x="1539" y="6897"/>
                  </a:cubicBezTo>
                  <a:cubicBezTo>
                    <a:pt x="1606" y="6913"/>
                    <a:pt x="1641" y="6965"/>
                    <a:pt x="1622" y="7022"/>
                  </a:cubicBezTo>
                  <a:cubicBezTo>
                    <a:pt x="1608" y="7064"/>
                    <a:pt x="1548" y="7095"/>
                    <a:pt x="1504" y="7077"/>
                  </a:cubicBezTo>
                  <a:cubicBezTo>
                    <a:pt x="1451" y="7056"/>
                    <a:pt x="1432" y="7007"/>
                    <a:pt x="1458" y="6943"/>
                  </a:cubicBezTo>
                  <a:cubicBezTo>
                    <a:pt x="1397" y="6922"/>
                    <a:pt x="1363" y="6875"/>
                    <a:pt x="1340" y="6816"/>
                  </a:cubicBezTo>
                  <a:cubicBezTo>
                    <a:pt x="1299" y="6830"/>
                    <a:pt x="1264" y="6821"/>
                    <a:pt x="1236" y="6791"/>
                  </a:cubicBezTo>
                  <a:cubicBezTo>
                    <a:pt x="1209" y="6761"/>
                    <a:pt x="1199" y="6725"/>
                    <a:pt x="1218" y="6685"/>
                  </a:cubicBezTo>
                  <a:cubicBezTo>
                    <a:pt x="1183" y="6676"/>
                    <a:pt x="1149" y="6664"/>
                    <a:pt x="1131" y="6628"/>
                  </a:cubicBezTo>
                  <a:cubicBezTo>
                    <a:pt x="1113" y="6594"/>
                    <a:pt x="1112" y="6559"/>
                    <a:pt x="1134" y="6526"/>
                  </a:cubicBezTo>
                  <a:cubicBezTo>
                    <a:pt x="1123" y="6521"/>
                    <a:pt x="1112" y="6516"/>
                    <a:pt x="1101" y="6512"/>
                  </a:cubicBezTo>
                  <a:cubicBezTo>
                    <a:pt x="1049" y="6491"/>
                    <a:pt x="1030" y="6410"/>
                    <a:pt x="1080" y="6371"/>
                  </a:cubicBezTo>
                  <a:cubicBezTo>
                    <a:pt x="1109" y="6347"/>
                    <a:pt x="1143" y="6330"/>
                    <a:pt x="1177" y="6309"/>
                  </a:cubicBezTo>
                  <a:cubicBezTo>
                    <a:pt x="1165" y="6283"/>
                    <a:pt x="1153" y="6255"/>
                    <a:pt x="1139" y="6227"/>
                  </a:cubicBezTo>
                  <a:cubicBezTo>
                    <a:pt x="1137" y="6222"/>
                    <a:pt x="1128" y="6217"/>
                    <a:pt x="1122" y="6217"/>
                  </a:cubicBezTo>
                  <a:cubicBezTo>
                    <a:pt x="1100" y="6217"/>
                    <a:pt x="1085" y="6207"/>
                    <a:pt x="1075" y="6189"/>
                  </a:cubicBezTo>
                  <a:cubicBezTo>
                    <a:pt x="1066" y="6171"/>
                    <a:pt x="1070" y="6153"/>
                    <a:pt x="1081" y="6136"/>
                  </a:cubicBezTo>
                  <a:cubicBezTo>
                    <a:pt x="1084" y="6132"/>
                    <a:pt x="1084" y="6124"/>
                    <a:pt x="1082" y="6119"/>
                  </a:cubicBezTo>
                  <a:cubicBezTo>
                    <a:pt x="1065" y="6073"/>
                    <a:pt x="1044" y="6028"/>
                    <a:pt x="1028" y="5981"/>
                  </a:cubicBezTo>
                  <a:cubicBezTo>
                    <a:pt x="1022" y="5963"/>
                    <a:pt x="1011" y="5957"/>
                    <a:pt x="998" y="5957"/>
                  </a:cubicBezTo>
                  <a:cubicBezTo>
                    <a:pt x="968" y="5955"/>
                    <a:pt x="954" y="5915"/>
                    <a:pt x="967" y="5895"/>
                  </a:cubicBezTo>
                  <a:cubicBezTo>
                    <a:pt x="976" y="5880"/>
                    <a:pt x="972" y="5868"/>
                    <a:pt x="967" y="5855"/>
                  </a:cubicBezTo>
                  <a:cubicBezTo>
                    <a:pt x="908" y="5709"/>
                    <a:pt x="848" y="5563"/>
                    <a:pt x="789" y="5417"/>
                  </a:cubicBezTo>
                  <a:cubicBezTo>
                    <a:pt x="739" y="5292"/>
                    <a:pt x="689" y="5167"/>
                    <a:pt x="638" y="5042"/>
                  </a:cubicBezTo>
                  <a:cubicBezTo>
                    <a:pt x="601" y="4949"/>
                    <a:pt x="563" y="4857"/>
                    <a:pt x="525" y="4765"/>
                  </a:cubicBezTo>
                  <a:cubicBezTo>
                    <a:pt x="522" y="4758"/>
                    <a:pt x="516" y="4750"/>
                    <a:pt x="510" y="4749"/>
                  </a:cubicBezTo>
                  <a:cubicBezTo>
                    <a:pt x="479" y="4741"/>
                    <a:pt x="459" y="4700"/>
                    <a:pt x="471" y="4672"/>
                  </a:cubicBezTo>
                  <a:cubicBezTo>
                    <a:pt x="472" y="4669"/>
                    <a:pt x="471" y="4666"/>
                    <a:pt x="471" y="4668"/>
                  </a:cubicBezTo>
                  <a:cubicBezTo>
                    <a:pt x="452" y="4654"/>
                    <a:pt x="436" y="4644"/>
                    <a:pt x="423" y="4630"/>
                  </a:cubicBezTo>
                  <a:cubicBezTo>
                    <a:pt x="408" y="4613"/>
                    <a:pt x="410" y="4592"/>
                    <a:pt x="421" y="4573"/>
                  </a:cubicBezTo>
                  <a:cubicBezTo>
                    <a:pt x="427" y="4562"/>
                    <a:pt x="426" y="4554"/>
                    <a:pt x="420" y="4543"/>
                  </a:cubicBezTo>
                  <a:cubicBezTo>
                    <a:pt x="406" y="4516"/>
                    <a:pt x="393" y="4488"/>
                    <a:pt x="379" y="4461"/>
                  </a:cubicBezTo>
                  <a:cubicBezTo>
                    <a:pt x="304" y="4479"/>
                    <a:pt x="236" y="4468"/>
                    <a:pt x="176" y="4422"/>
                  </a:cubicBezTo>
                  <a:cubicBezTo>
                    <a:pt x="131" y="4387"/>
                    <a:pt x="101" y="4341"/>
                    <a:pt x="91" y="4284"/>
                  </a:cubicBezTo>
                  <a:cubicBezTo>
                    <a:pt x="78" y="4209"/>
                    <a:pt x="94" y="4143"/>
                    <a:pt x="147" y="4085"/>
                  </a:cubicBezTo>
                  <a:cubicBezTo>
                    <a:pt x="195" y="4032"/>
                    <a:pt x="255" y="4009"/>
                    <a:pt x="325" y="4013"/>
                  </a:cubicBezTo>
                  <a:cubicBezTo>
                    <a:pt x="360" y="4015"/>
                    <a:pt x="376" y="3990"/>
                    <a:pt x="399" y="3974"/>
                  </a:cubicBezTo>
                  <a:cubicBezTo>
                    <a:pt x="449" y="3940"/>
                    <a:pt x="498" y="3906"/>
                    <a:pt x="559" y="3896"/>
                  </a:cubicBezTo>
                  <a:cubicBezTo>
                    <a:pt x="563" y="3895"/>
                    <a:pt x="567" y="3892"/>
                    <a:pt x="571" y="3889"/>
                  </a:cubicBezTo>
                  <a:cubicBezTo>
                    <a:pt x="412" y="3904"/>
                    <a:pt x="275" y="3855"/>
                    <a:pt x="155" y="3750"/>
                  </a:cubicBezTo>
                  <a:cubicBezTo>
                    <a:pt x="261" y="3641"/>
                    <a:pt x="388" y="3576"/>
                    <a:pt x="539" y="3558"/>
                  </a:cubicBezTo>
                  <a:cubicBezTo>
                    <a:pt x="439" y="3553"/>
                    <a:pt x="347" y="3520"/>
                    <a:pt x="259" y="3473"/>
                  </a:cubicBezTo>
                  <a:cubicBezTo>
                    <a:pt x="171" y="3425"/>
                    <a:pt x="104" y="3355"/>
                    <a:pt x="40" y="3278"/>
                  </a:cubicBezTo>
                  <a:cubicBezTo>
                    <a:pt x="119" y="3236"/>
                    <a:pt x="201" y="3207"/>
                    <a:pt x="289" y="3193"/>
                  </a:cubicBezTo>
                  <a:cubicBezTo>
                    <a:pt x="377" y="3180"/>
                    <a:pt x="466" y="3173"/>
                    <a:pt x="555" y="3188"/>
                  </a:cubicBezTo>
                  <a:cubicBezTo>
                    <a:pt x="441" y="3141"/>
                    <a:pt x="333" y="3084"/>
                    <a:pt x="238" y="3005"/>
                  </a:cubicBezTo>
                  <a:cubicBezTo>
                    <a:pt x="142" y="2926"/>
                    <a:pt x="64" y="2833"/>
                    <a:pt x="0" y="2725"/>
                  </a:cubicBezTo>
                  <a:cubicBezTo>
                    <a:pt x="171" y="2706"/>
                    <a:pt x="340" y="2706"/>
                    <a:pt x="508" y="2748"/>
                  </a:cubicBezTo>
                  <a:cubicBezTo>
                    <a:pt x="292" y="2630"/>
                    <a:pt x="166" y="2452"/>
                    <a:pt x="139" y="2204"/>
                  </a:cubicBezTo>
                  <a:cubicBezTo>
                    <a:pt x="276" y="2218"/>
                    <a:pt x="406" y="2253"/>
                    <a:pt x="531" y="2313"/>
                  </a:cubicBezTo>
                  <a:cubicBezTo>
                    <a:pt x="313" y="2086"/>
                    <a:pt x="257" y="1829"/>
                    <a:pt x="380" y="1534"/>
                  </a:cubicBezTo>
                  <a:cubicBezTo>
                    <a:pt x="522" y="1706"/>
                    <a:pt x="663" y="1875"/>
                    <a:pt x="804" y="2044"/>
                  </a:cubicBezTo>
                  <a:cubicBezTo>
                    <a:pt x="805" y="2043"/>
                    <a:pt x="806" y="2042"/>
                    <a:pt x="807" y="2042"/>
                  </a:cubicBezTo>
                  <a:cubicBezTo>
                    <a:pt x="798" y="2023"/>
                    <a:pt x="788" y="2004"/>
                    <a:pt x="778" y="1985"/>
                  </a:cubicBezTo>
                  <a:cubicBezTo>
                    <a:pt x="742" y="1922"/>
                    <a:pt x="707" y="1859"/>
                    <a:pt x="671" y="1796"/>
                  </a:cubicBezTo>
                  <a:cubicBezTo>
                    <a:pt x="648" y="1756"/>
                    <a:pt x="626" y="1716"/>
                    <a:pt x="603" y="1677"/>
                  </a:cubicBezTo>
                  <a:cubicBezTo>
                    <a:pt x="574" y="1625"/>
                    <a:pt x="560" y="1569"/>
                    <a:pt x="551" y="1511"/>
                  </a:cubicBezTo>
                  <a:cubicBezTo>
                    <a:pt x="543" y="1452"/>
                    <a:pt x="546" y="1392"/>
                    <a:pt x="554" y="1332"/>
                  </a:cubicBezTo>
                  <a:cubicBezTo>
                    <a:pt x="565" y="1256"/>
                    <a:pt x="585" y="1183"/>
                    <a:pt x="623" y="1115"/>
                  </a:cubicBezTo>
                  <a:cubicBezTo>
                    <a:pt x="660" y="1051"/>
                    <a:pt x="704" y="992"/>
                    <a:pt x="763" y="940"/>
                  </a:cubicBezTo>
                  <a:cubicBezTo>
                    <a:pt x="853" y="1366"/>
                    <a:pt x="1012" y="1760"/>
                    <a:pt x="1266" y="2115"/>
                  </a:cubicBezTo>
                  <a:cubicBezTo>
                    <a:pt x="1280" y="2106"/>
                    <a:pt x="1295" y="2098"/>
                    <a:pt x="1311" y="2088"/>
                  </a:cubicBezTo>
                  <a:cubicBezTo>
                    <a:pt x="1388" y="2247"/>
                    <a:pt x="1487" y="2387"/>
                    <a:pt x="1616" y="2508"/>
                  </a:cubicBezTo>
                  <a:cubicBezTo>
                    <a:pt x="1627" y="2489"/>
                    <a:pt x="1637" y="2471"/>
                    <a:pt x="1649" y="2451"/>
                  </a:cubicBezTo>
                  <a:cubicBezTo>
                    <a:pt x="1657" y="2465"/>
                    <a:pt x="1664" y="2477"/>
                    <a:pt x="1671" y="2489"/>
                  </a:cubicBezTo>
                  <a:cubicBezTo>
                    <a:pt x="1684" y="2509"/>
                    <a:pt x="1696" y="2531"/>
                    <a:pt x="1711" y="2549"/>
                  </a:cubicBezTo>
                  <a:cubicBezTo>
                    <a:pt x="1740" y="2585"/>
                    <a:pt x="1774" y="2616"/>
                    <a:pt x="1812" y="2643"/>
                  </a:cubicBezTo>
                  <a:cubicBezTo>
                    <a:pt x="1860" y="2677"/>
                    <a:pt x="1907" y="2713"/>
                    <a:pt x="1952" y="2752"/>
                  </a:cubicBezTo>
                  <a:cubicBezTo>
                    <a:pt x="2001" y="2794"/>
                    <a:pt x="2049" y="2838"/>
                    <a:pt x="2093" y="2886"/>
                  </a:cubicBezTo>
                  <a:cubicBezTo>
                    <a:pt x="2150" y="2948"/>
                    <a:pt x="2211" y="3009"/>
                    <a:pt x="2249" y="3086"/>
                  </a:cubicBezTo>
                  <a:cubicBezTo>
                    <a:pt x="2276" y="3140"/>
                    <a:pt x="2284" y="3197"/>
                    <a:pt x="2273" y="3259"/>
                  </a:cubicBezTo>
                  <a:cubicBezTo>
                    <a:pt x="2262" y="3317"/>
                    <a:pt x="2233" y="3364"/>
                    <a:pt x="2195" y="3404"/>
                  </a:cubicBezTo>
                  <a:cubicBezTo>
                    <a:pt x="2172" y="3429"/>
                    <a:pt x="2141" y="3452"/>
                    <a:pt x="2109" y="3462"/>
                  </a:cubicBezTo>
                  <a:cubicBezTo>
                    <a:pt x="2038" y="3486"/>
                    <a:pt x="2024" y="3588"/>
                    <a:pt x="2070" y="3639"/>
                  </a:cubicBezTo>
                  <a:cubicBezTo>
                    <a:pt x="2096" y="3668"/>
                    <a:pt x="2123" y="3697"/>
                    <a:pt x="2154" y="3720"/>
                  </a:cubicBezTo>
                  <a:cubicBezTo>
                    <a:pt x="2202" y="3756"/>
                    <a:pt x="2255" y="3779"/>
                    <a:pt x="2317" y="3785"/>
                  </a:cubicBezTo>
                  <a:cubicBezTo>
                    <a:pt x="2358" y="3789"/>
                    <a:pt x="2398" y="3787"/>
                    <a:pt x="2438" y="3780"/>
                  </a:cubicBezTo>
                  <a:cubicBezTo>
                    <a:pt x="2498" y="3771"/>
                    <a:pt x="2550" y="3744"/>
                    <a:pt x="2595" y="3705"/>
                  </a:cubicBezTo>
                  <a:cubicBezTo>
                    <a:pt x="2619" y="3685"/>
                    <a:pt x="2639" y="3662"/>
                    <a:pt x="2661" y="3640"/>
                  </a:cubicBezTo>
                  <a:cubicBezTo>
                    <a:pt x="2661" y="3637"/>
                    <a:pt x="2660" y="3635"/>
                    <a:pt x="2659" y="3633"/>
                  </a:cubicBezTo>
                  <a:cubicBezTo>
                    <a:pt x="2646" y="3630"/>
                    <a:pt x="2632" y="3629"/>
                    <a:pt x="2619" y="3626"/>
                  </a:cubicBezTo>
                  <a:cubicBezTo>
                    <a:pt x="2555" y="3613"/>
                    <a:pt x="2505" y="3579"/>
                    <a:pt x="2466" y="3526"/>
                  </a:cubicBezTo>
                  <a:cubicBezTo>
                    <a:pt x="2437" y="3486"/>
                    <a:pt x="2420" y="3442"/>
                    <a:pt x="2424" y="3394"/>
                  </a:cubicBezTo>
                  <a:cubicBezTo>
                    <a:pt x="2428" y="3347"/>
                    <a:pt x="2434" y="3309"/>
                    <a:pt x="2475" y="3268"/>
                  </a:cubicBezTo>
                  <a:cubicBezTo>
                    <a:pt x="2484" y="3297"/>
                    <a:pt x="2490" y="3328"/>
                    <a:pt x="2504" y="3356"/>
                  </a:cubicBezTo>
                  <a:cubicBezTo>
                    <a:pt x="2533" y="3416"/>
                    <a:pt x="2586" y="3444"/>
                    <a:pt x="2650" y="3448"/>
                  </a:cubicBezTo>
                  <a:cubicBezTo>
                    <a:pt x="2698" y="3450"/>
                    <a:pt x="2746" y="3445"/>
                    <a:pt x="2789" y="3419"/>
                  </a:cubicBezTo>
                  <a:cubicBezTo>
                    <a:pt x="2818" y="3402"/>
                    <a:pt x="2841" y="3380"/>
                    <a:pt x="2850" y="3345"/>
                  </a:cubicBezTo>
                  <a:cubicBezTo>
                    <a:pt x="2806" y="3343"/>
                    <a:pt x="2763" y="3339"/>
                    <a:pt x="2719" y="3341"/>
                  </a:cubicBezTo>
                  <a:cubicBezTo>
                    <a:pt x="2666" y="3343"/>
                    <a:pt x="2630" y="3318"/>
                    <a:pt x="2603" y="3276"/>
                  </a:cubicBezTo>
                  <a:cubicBezTo>
                    <a:pt x="2570" y="3225"/>
                    <a:pt x="2570" y="3173"/>
                    <a:pt x="2603" y="3122"/>
                  </a:cubicBezTo>
                  <a:cubicBezTo>
                    <a:pt x="2606" y="3117"/>
                    <a:pt x="2608" y="3111"/>
                    <a:pt x="2611" y="3105"/>
                  </a:cubicBezTo>
                  <a:cubicBezTo>
                    <a:pt x="2620" y="3128"/>
                    <a:pt x="2626" y="3149"/>
                    <a:pt x="2636" y="3170"/>
                  </a:cubicBezTo>
                  <a:cubicBezTo>
                    <a:pt x="2653" y="3207"/>
                    <a:pt x="2697" y="3224"/>
                    <a:pt x="2737" y="3212"/>
                  </a:cubicBezTo>
                  <a:cubicBezTo>
                    <a:pt x="2778" y="3201"/>
                    <a:pt x="2816" y="3181"/>
                    <a:pt x="2846" y="3150"/>
                  </a:cubicBezTo>
                  <a:cubicBezTo>
                    <a:pt x="2864" y="3130"/>
                    <a:pt x="2879" y="3106"/>
                    <a:pt x="2890" y="3081"/>
                  </a:cubicBezTo>
                  <a:cubicBezTo>
                    <a:pt x="2916" y="3023"/>
                    <a:pt x="2933" y="2962"/>
                    <a:pt x="2938" y="2899"/>
                  </a:cubicBezTo>
                  <a:cubicBezTo>
                    <a:pt x="2943" y="2844"/>
                    <a:pt x="2944" y="2790"/>
                    <a:pt x="2932" y="2736"/>
                  </a:cubicBezTo>
                  <a:cubicBezTo>
                    <a:pt x="2909" y="2633"/>
                    <a:pt x="2866" y="2540"/>
                    <a:pt x="2798" y="2461"/>
                  </a:cubicBezTo>
                  <a:cubicBezTo>
                    <a:pt x="2752" y="2408"/>
                    <a:pt x="2697" y="2367"/>
                    <a:pt x="2630" y="2343"/>
                  </a:cubicBezTo>
                  <a:cubicBezTo>
                    <a:pt x="2574" y="2324"/>
                    <a:pt x="2518" y="2314"/>
                    <a:pt x="2460" y="2316"/>
                  </a:cubicBezTo>
                  <a:cubicBezTo>
                    <a:pt x="2410" y="2319"/>
                    <a:pt x="2361" y="2321"/>
                    <a:pt x="2312" y="2329"/>
                  </a:cubicBezTo>
                  <a:cubicBezTo>
                    <a:pt x="2284" y="2335"/>
                    <a:pt x="2256" y="2350"/>
                    <a:pt x="2230" y="2364"/>
                  </a:cubicBezTo>
                  <a:cubicBezTo>
                    <a:pt x="2194" y="2384"/>
                    <a:pt x="2161" y="2407"/>
                    <a:pt x="2123" y="2430"/>
                  </a:cubicBezTo>
                  <a:cubicBezTo>
                    <a:pt x="2144" y="2332"/>
                    <a:pt x="2201" y="2273"/>
                    <a:pt x="2290" y="2242"/>
                  </a:cubicBezTo>
                  <a:cubicBezTo>
                    <a:pt x="2260" y="2237"/>
                    <a:pt x="2205" y="2243"/>
                    <a:pt x="2179" y="2258"/>
                  </a:cubicBezTo>
                  <a:cubicBezTo>
                    <a:pt x="2146" y="2278"/>
                    <a:pt x="2114" y="2299"/>
                    <a:pt x="2081" y="2320"/>
                  </a:cubicBezTo>
                  <a:cubicBezTo>
                    <a:pt x="2042" y="2344"/>
                    <a:pt x="2001" y="2361"/>
                    <a:pt x="1955" y="2364"/>
                  </a:cubicBezTo>
                  <a:cubicBezTo>
                    <a:pt x="1863" y="2370"/>
                    <a:pt x="1788" y="2335"/>
                    <a:pt x="1730" y="2267"/>
                  </a:cubicBezTo>
                  <a:cubicBezTo>
                    <a:pt x="1708" y="2242"/>
                    <a:pt x="1698" y="2206"/>
                    <a:pt x="1683" y="2175"/>
                  </a:cubicBezTo>
                  <a:cubicBezTo>
                    <a:pt x="1680" y="2168"/>
                    <a:pt x="1678" y="2159"/>
                    <a:pt x="1674" y="2145"/>
                  </a:cubicBezTo>
                  <a:cubicBezTo>
                    <a:pt x="1684" y="2156"/>
                    <a:pt x="1691" y="2162"/>
                    <a:pt x="1697" y="2168"/>
                  </a:cubicBezTo>
                  <a:cubicBezTo>
                    <a:pt x="1732" y="2206"/>
                    <a:pt x="1776" y="2228"/>
                    <a:pt x="1826" y="2231"/>
                  </a:cubicBezTo>
                  <a:cubicBezTo>
                    <a:pt x="1867" y="2234"/>
                    <a:pt x="1908" y="2228"/>
                    <a:pt x="1945" y="2209"/>
                  </a:cubicBezTo>
                  <a:cubicBezTo>
                    <a:pt x="2017" y="2171"/>
                    <a:pt x="2094" y="2152"/>
                    <a:pt x="2176" y="2157"/>
                  </a:cubicBezTo>
                  <a:cubicBezTo>
                    <a:pt x="2205" y="2159"/>
                    <a:pt x="2234" y="2166"/>
                    <a:pt x="2263" y="2170"/>
                  </a:cubicBezTo>
                  <a:cubicBezTo>
                    <a:pt x="2270" y="2171"/>
                    <a:pt x="2277" y="2172"/>
                    <a:pt x="2288" y="2173"/>
                  </a:cubicBezTo>
                  <a:cubicBezTo>
                    <a:pt x="2260" y="2139"/>
                    <a:pt x="2230" y="2115"/>
                    <a:pt x="2196" y="2094"/>
                  </a:cubicBezTo>
                  <a:cubicBezTo>
                    <a:pt x="2134" y="2057"/>
                    <a:pt x="2069" y="2033"/>
                    <a:pt x="1996" y="2032"/>
                  </a:cubicBezTo>
                  <a:cubicBezTo>
                    <a:pt x="1973" y="2032"/>
                    <a:pt x="1949" y="2038"/>
                    <a:pt x="1926" y="2038"/>
                  </a:cubicBezTo>
                  <a:cubicBezTo>
                    <a:pt x="1920" y="2038"/>
                    <a:pt x="1909" y="2030"/>
                    <a:pt x="1908" y="2024"/>
                  </a:cubicBezTo>
                  <a:cubicBezTo>
                    <a:pt x="1897" y="1966"/>
                    <a:pt x="1900" y="1910"/>
                    <a:pt x="1928" y="1858"/>
                  </a:cubicBezTo>
                  <a:cubicBezTo>
                    <a:pt x="1958" y="1800"/>
                    <a:pt x="2006" y="1762"/>
                    <a:pt x="2066" y="1740"/>
                  </a:cubicBezTo>
                  <a:cubicBezTo>
                    <a:pt x="2087" y="1732"/>
                    <a:pt x="2111" y="1731"/>
                    <a:pt x="2134" y="1728"/>
                  </a:cubicBezTo>
                  <a:cubicBezTo>
                    <a:pt x="2148" y="1727"/>
                    <a:pt x="2163" y="1728"/>
                    <a:pt x="2178" y="1728"/>
                  </a:cubicBezTo>
                  <a:cubicBezTo>
                    <a:pt x="2177" y="1714"/>
                    <a:pt x="2177" y="1702"/>
                    <a:pt x="2175" y="1690"/>
                  </a:cubicBezTo>
                  <a:cubicBezTo>
                    <a:pt x="2172" y="1679"/>
                    <a:pt x="2169" y="1670"/>
                    <a:pt x="2153" y="1667"/>
                  </a:cubicBezTo>
                  <a:cubicBezTo>
                    <a:pt x="2081" y="1652"/>
                    <a:pt x="2016" y="1618"/>
                    <a:pt x="1962" y="1568"/>
                  </a:cubicBezTo>
                  <a:cubicBezTo>
                    <a:pt x="1931" y="1538"/>
                    <a:pt x="1907" y="1500"/>
                    <a:pt x="1881" y="1464"/>
                  </a:cubicBezTo>
                  <a:cubicBezTo>
                    <a:pt x="1846" y="1413"/>
                    <a:pt x="1830" y="1355"/>
                    <a:pt x="1823" y="1294"/>
                  </a:cubicBezTo>
                  <a:cubicBezTo>
                    <a:pt x="1812" y="1203"/>
                    <a:pt x="1831" y="1118"/>
                    <a:pt x="1874" y="1038"/>
                  </a:cubicBezTo>
                  <a:cubicBezTo>
                    <a:pt x="1875" y="1037"/>
                    <a:pt x="1874" y="1036"/>
                    <a:pt x="1874" y="1033"/>
                  </a:cubicBezTo>
                  <a:cubicBezTo>
                    <a:pt x="1837" y="1038"/>
                    <a:pt x="1800" y="1041"/>
                    <a:pt x="1764" y="1048"/>
                  </a:cubicBezTo>
                  <a:cubicBezTo>
                    <a:pt x="1739" y="1053"/>
                    <a:pt x="1716" y="1063"/>
                    <a:pt x="1692" y="1074"/>
                  </a:cubicBezTo>
                  <a:cubicBezTo>
                    <a:pt x="1645" y="1094"/>
                    <a:pt x="1603" y="1125"/>
                    <a:pt x="1561" y="1155"/>
                  </a:cubicBezTo>
                  <a:cubicBezTo>
                    <a:pt x="1527" y="1178"/>
                    <a:pt x="1518" y="1206"/>
                    <a:pt x="1523" y="1243"/>
                  </a:cubicBezTo>
                  <a:cubicBezTo>
                    <a:pt x="1526" y="1264"/>
                    <a:pt x="1528" y="1285"/>
                    <a:pt x="1530" y="1307"/>
                  </a:cubicBezTo>
                  <a:cubicBezTo>
                    <a:pt x="1595" y="1353"/>
                    <a:pt x="1629" y="1418"/>
                    <a:pt x="1618" y="1499"/>
                  </a:cubicBezTo>
                  <a:cubicBezTo>
                    <a:pt x="1611" y="1548"/>
                    <a:pt x="1592" y="1593"/>
                    <a:pt x="1551" y="1628"/>
                  </a:cubicBezTo>
                  <a:cubicBezTo>
                    <a:pt x="1522" y="1653"/>
                    <a:pt x="1489" y="1666"/>
                    <a:pt x="1458" y="1683"/>
                  </a:cubicBezTo>
                  <a:cubicBezTo>
                    <a:pt x="1422" y="1702"/>
                    <a:pt x="1410" y="1726"/>
                    <a:pt x="1418" y="1767"/>
                  </a:cubicBezTo>
                  <a:cubicBezTo>
                    <a:pt x="1420" y="1774"/>
                    <a:pt x="1419" y="1781"/>
                    <a:pt x="1419" y="1789"/>
                  </a:cubicBezTo>
                  <a:cubicBezTo>
                    <a:pt x="1379" y="1782"/>
                    <a:pt x="1352" y="1758"/>
                    <a:pt x="1349" y="1721"/>
                  </a:cubicBezTo>
                  <a:cubicBezTo>
                    <a:pt x="1345" y="1685"/>
                    <a:pt x="1364" y="1654"/>
                    <a:pt x="1401" y="1639"/>
                  </a:cubicBezTo>
                  <a:cubicBezTo>
                    <a:pt x="1357" y="1618"/>
                    <a:pt x="1312" y="1612"/>
                    <a:pt x="1265" y="1612"/>
                  </a:cubicBezTo>
                  <a:cubicBezTo>
                    <a:pt x="1248" y="1611"/>
                    <a:pt x="1230" y="1609"/>
                    <a:pt x="1213" y="1604"/>
                  </a:cubicBezTo>
                  <a:cubicBezTo>
                    <a:pt x="1172" y="1593"/>
                    <a:pt x="1138" y="1603"/>
                    <a:pt x="1105" y="1635"/>
                  </a:cubicBezTo>
                  <a:cubicBezTo>
                    <a:pt x="1103" y="1627"/>
                    <a:pt x="1099" y="1621"/>
                    <a:pt x="1099" y="1615"/>
                  </a:cubicBezTo>
                  <a:cubicBezTo>
                    <a:pt x="1103" y="1554"/>
                    <a:pt x="1127" y="1513"/>
                    <a:pt x="1190" y="1494"/>
                  </a:cubicBezTo>
                  <a:cubicBezTo>
                    <a:pt x="1211" y="1488"/>
                    <a:pt x="1236" y="1494"/>
                    <a:pt x="1259" y="1494"/>
                  </a:cubicBezTo>
                  <a:cubicBezTo>
                    <a:pt x="1284" y="1494"/>
                    <a:pt x="1309" y="1494"/>
                    <a:pt x="1333" y="1490"/>
                  </a:cubicBezTo>
                  <a:cubicBezTo>
                    <a:pt x="1342" y="1488"/>
                    <a:pt x="1354" y="1473"/>
                    <a:pt x="1353" y="1464"/>
                  </a:cubicBezTo>
                  <a:cubicBezTo>
                    <a:pt x="1352" y="1454"/>
                    <a:pt x="1343" y="1439"/>
                    <a:pt x="1334" y="1434"/>
                  </a:cubicBezTo>
                  <a:cubicBezTo>
                    <a:pt x="1295" y="1415"/>
                    <a:pt x="1267" y="1386"/>
                    <a:pt x="1249" y="1347"/>
                  </a:cubicBezTo>
                  <a:cubicBezTo>
                    <a:pt x="1225" y="1296"/>
                    <a:pt x="1235" y="1234"/>
                    <a:pt x="1273" y="1190"/>
                  </a:cubicBezTo>
                  <a:cubicBezTo>
                    <a:pt x="1310" y="1148"/>
                    <a:pt x="1360" y="1142"/>
                    <a:pt x="1409" y="1127"/>
                  </a:cubicBezTo>
                  <a:cubicBezTo>
                    <a:pt x="1456" y="1113"/>
                    <a:pt x="1503" y="1095"/>
                    <a:pt x="1547" y="1073"/>
                  </a:cubicBezTo>
                  <a:cubicBezTo>
                    <a:pt x="1583" y="1055"/>
                    <a:pt x="1617" y="1032"/>
                    <a:pt x="1647" y="1005"/>
                  </a:cubicBezTo>
                  <a:cubicBezTo>
                    <a:pt x="1692" y="964"/>
                    <a:pt x="1734" y="919"/>
                    <a:pt x="1763" y="864"/>
                  </a:cubicBezTo>
                  <a:cubicBezTo>
                    <a:pt x="1777" y="838"/>
                    <a:pt x="1792" y="813"/>
                    <a:pt x="1809" y="789"/>
                  </a:cubicBezTo>
                  <a:cubicBezTo>
                    <a:pt x="1834" y="754"/>
                    <a:pt x="1903" y="741"/>
                    <a:pt x="1940" y="764"/>
                  </a:cubicBezTo>
                  <a:cubicBezTo>
                    <a:pt x="1946" y="767"/>
                    <a:pt x="1950" y="774"/>
                    <a:pt x="1951" y="781"/>
                  </a:cubicBezTo>
                  <a:cubicBezTo>
                    <a:pt x="1965" y="852"/>
                    <a:pt x="2005" y="904"/>
                    <a:pt x="2068" y="941"/>
                  </a:cubicBezTo>
                  <a:cubicBezTo>
                    <a:pt x="2083" y="950"/>
                    <a:pt x="2095" y="968"/>
                    <a:pt x="2102" y="985"/>
                  </a:cubicBezTo>
                  <a:cubicBezTo>
                    <a:pt x="2131" y="1057"/>
                    <a:pt x="2108" y="1122"/>
                    <a:pt x="2044" y="1165"/>
                  </a:cubicBezTo>
                  <a:cubicBezTo>
                    <a:pt x="1981" y="1207"/>
                    <a:pt x="1967" y="1272"/>
                    <a:pt x="1977" y="1331"/>
                  </a:cubicBezTo>
                  <a:cubicBezTo>
                    <a:pt x="1981" y="1359"/>
                    <a:pt x="1994" y="1388"/>
                    <a:pt x="2018" y="1410"/>
                  </a:cubicBezTo>
                  <a:cubicBezTo>
                    <a:pt x="2054" y="1441"/>
                    <a:pt x="2086" y="1478"/>
                    <a:pt x="2123" y="1507"/>
                  </a:cubicBezTo>
                  <a:cubicBezTo>
                    <a:pt x="2168" y="1542"/>
                    <a:pt x="2221" y="1562"/>
                    <a:pt x="2275" y="1580"/>
                  </a:cubicBezTo>
                  <a:cubicBezTo>
                    <a:pt x="2282" y="1582"/>
                    <a:pt x="2290" y="1584"/>
                    <a:pt x="2300" y="1587"/>
                  </a:cubicBezTo>
                  <a:cubicBezTo>
                    <a:pt x="2304" y="1540"/>
                    <a:pt x="2308" y="1494"/>
                    <a:pt x="2310" y="1448"/>
                  </a:cubicBezTo>
                  <a:cubicBezTo>
                    <a:pt x="2311" y="1440"/>
                    <a:pt x="2306" y="1430"/>
                    <a:pt x="2300" y="1424"/>
                  </a:cubicBezTo>
                  <a:cubicBezTo>
                    <a:pt x="2241" y="1365"/>
                    <a:pt x="2225" y="1293"/>
                    <a:pt x="2240" y="1213"/>
                  </a:cubicBezTo>
                  <a:cubicBezTo>
                    <a:pt x="2253" y="1139"/>
                    <a:pt x="2335" y="1063"/>
                    <a:pt x="2410" y="1052"/>
                  </a:cubicBezTo>
                  <a:cubicBezTo>
                    <a:pt x="2438" y="1048"/>
                    <a:pt x="2465" y="1045"/>
                    <a:pt x="2496" y="1041"/>
                  </a:cubicBezTo>
                  <a:cubicBezTo>
                    <a:pt x="2494" y="1064"/>
                    <a:pt x="2492" y="1083"/>
                    <a:pt x="2491" y="1104"/>
                  </a:cubicBezTo>
                  <a:cubicBezTo>
                    <a:pt x="2506" y="1102"/>
                    <a:pt x="2519" y="1101"/>
                    <a:pt x="2534" y="1099"/>
                  </a:cubicBezTo>
                  <a:cubicBezTo>
                    <a:pt x="2536" y="1045"/>
                    <a:pt x="2538" y="990"/>
                    <a:pt x="2540" y="933"/>
                  </a:cubicBezTo>
                  <a:cubicBezTo>
                    <a:pt x="2519" y="933"/>
                    <a:pt x="2500" y="933"/>
                    <a:pt x="2480" y="933"/>
                  </a:cubicBezTo>
                  <a:cubicBezTo>
                    <a:pt x="2480" y="909"/>
                    <a:pt x="2480" y="888"/>
                    <a:pt x="2480" y="864"/>
                  </a:cubicBezTo>
                  <a:cubicBezTo>
                    <a:pt x="2500" y="865"/>
                    <a:pt x="2521" y="867"/>
                    <a:pt x="2543" y="868"/>
                  </a:cubicBezTo>
                  <a:cubicBezTo>
                    <a:pt x="2543" y="845"/>
                    <a:pt x="2543" y="824"/>
                    <a:pt x="2543" y="799"/>
                  </a:cubicBezTo>
                  <a:cubicBezTo>
                    <a:pt x="2568" y="801"/>
                    <a:pt x="2592" y="803"/>
                    <a:pt x="2618" y="805"/>
                  </a:cubicBezTo>
                  <a:cubicBezTo>
                    <a:pt x="2618" y="825"/>
                    <a:pt x="2618" y="846"/>
                    <a:pt x="2618" y="868"/>
                  </a:cubicBezTo>
                  <a:cubicBezTo>
                    <a:pt x="2643" y="868"/>
                    <a:pt x="2666" y="868"/>
                    <a:pt x="2692" y="868"/>
                  </a:cubicBezTo>
                  <a:cubicBezTo>
                    <a:pt x="2690" y="891"/>
                    <a:pt x="2688" y="912"/>
                    <a:pt x="2686" y="936"/>
                  </a:cubicBezTo>
                  <a:cubicBezTo>
                    <a:pt x="2665" y="935"/>
                    <a:pt x="2643" y="933"/>
                    <a:pt x="2618" y="932"/>
                  </a:cubicBezTo>
                  <a:cubicBezTo>
                    <a:pt x="2618" y="990"/>
                    <a:pt x="2618" y="1046"/>
                    <a:pt x="2618" y="1103"/>
                  </a:cubicBezTo>
                  <a:cubicBezTo>
                    <a:pt x="2631" y="1105"/>
                    <a:pt x="2646" y="1107"/>
                    <a:pt x="2661" y="1109"/>
                  </a:cubicBezTo>
                  <a:cubicBezTo>
                    <a:pt x="2664" y="1089"/>
                    <a:pt x="2666" y="1072"/>
                    <a:pt x="2669" y="1053"/>
                  </a:cubicBezTo>
                  <a:cubicBezTo>
                    <a:pt x="2717" y="1050"/>
                    <a:pt x="2762" y="1061"/>
                    <a:pt x="2800" y="1088"/>
                  </a:cubicBezTo>
                  <a:cubicBezTo>
                    <a:pt x="2831" y="1110"/>
                    <a:pt x="2860" y="1136"/>
                    <a:pt x="2876" y="1171"/>
                  </a:cubicBezTo>
                  <a:cubicBezTo>
                    <a:pt x="2887" y="1197"/>
                    <a:pt x="2896" y="1224"/>
                    <a:pt x="2903" y="1252"/>
                  </a:cubicBezTo>
                  <a:cubicBezTo>
                    <a:pt x="2915" y="1305"/>
                    <a:pt x="2898" y="1353"/>
                    <a:pt x="2871" y="1398"/>
                  </a:cubicBezTo>
                  <a:cubicBezTo>
                    <a:pt x="2862" y="1413"/>
                    <a:pt x="2851" y="1428"/>
                    <a:pt x="2839" y="1442"/>
                  </a:cubicBezTo>
                  <a:cubicBezTo>
                    <a:pt x="2830" y="1451"/>
                    <a:pt x="2827" y="1460"/>
                    <a:pt x="2827" y="1473"/>
                  </a:cubicBezTo>
                  <a:cubicBezTo>
                    <a:pt x="2827" y="1512"/>
                    <a:pt x="2827" y="1551"/>
                    <a:pt x="2827" y="1590"/>
                  </a:cubicBezTo>
                  <a:cubicBezTo>
                    <a:pt x="3052" y="1623"/>
                    <a:pt x="3285" y="1475"/>
                    <a:pt x="3358" y="1310"/>
                  </a:cubicBezTo>
                  <a:cubicBezTo>
                    <a:pt x="3336" y="1303"/>
                    <a:pt x="3312" y="1298"/>
                    <a:pt x="3292" y="1286"/>
                  </a:cubicBezTo>
                  <a:cubicBezTo>
                    <a:pt x="3272" y="1274"/>
                    <a:pt x="3262" y="1252"/>
                    <a:pt x="3263" y="1227"/>
                  </a:cubicBezTo>
                  <a:cubicBezTo>
                    <a:pt x="3264" y="1191"/>
                    <a:pt x="3264" y="1155"/>
                    <a:pt x="3263" y="1119"/>
                  </a:cubicBezTo>
                  <a:cubicBezTo>
                    <a:pt x="3262" y="1110"/>
                    <a:pt x="3259" y="1100"/>
                    <a:pt x="3253" y="1093"/>
                  </a:cubicBezTo>
                  <a:cubicBezTo>
                    <a:pt x="3218" y="1048"/>
                    <a:pt x="3187" y="1001"/>
                    <a:pt x="3167" y="948"/>
                  </a:cubicBezTo>
                  <a:cubicBezTo>
                    <a:pt x="3152" y="909"/>
                    <a:pt x="3144" y="867"/>
                    <a:pt x="3135" y="826"/>
                  </a:cubicBezTo>
                  <a:cubicBezTo>
                    <a:pt x="3130" y="799"/>
                    <a:pt x="3127" y="771"/>
                    <a:pt x="3128" y="744"/>
                  </a:cubicBezTo>
                  <a:cubicBezTo>
                    <a:pt x="3130" y="685"/>
                    <a:pt x="3133" y="625"/>
                    <a:pt x="3159" y="571"/>
                  </a:cubicBezTo>
                  <a:cubicBezTo>
                    <a:pt x="3183" y="521"/>
                    <a:pt x="3224" y="487"/>
                    <a:pt x="3276" y="463"/>
                  </a:cubicBezTo>
                  <a:cubicBezTo>
                    <a:pt x="3316" y="445"/>
                    <a:pt x="3358" y="441"/>
                    <a:pt x="3401" y="440"/>
                  </a:cubicBezTo>
                  <a:cubicBezTo>
                    <a:pt x="3446" y="439"/>
                    <a:pt x="3491" y="440"/>
                    <a:pt x="3539" y="440"/>
                  </a:cubicBezTo>
                  <a:cubicBezTo>
                    <a:pt x="3539" y="459"/>
                    <a:pt x="3539" y="476"/>
                    <a:pt x="3539" y="495"/>
                  </a:cubicBezTo>
                  <a:cubicBezTo>
                    <a:pt x="3564" y="495"/>
                    <a:pt x="3588" y="495"/>
                    <a:pt x="3614" y="495"/>
                  </a:cubicBezTo>
                  <a:cubicBezTo>
                    <a:pt x="3616" y="405"/>
                    <a:pt x="3618" y="314"/>
                    <a:pt x="3620" y="222"/>
                  </a:cubicBezTo>
                  <a:cubicBezTo>
                    <a:pt x="3593" y="219"/>
                    <a:pt x="3568" y="217"/>
                    <a:pt x="3538" y="214"/>
                  </a:cubicBezTo>
                  <a:cubicBezTo>
                    <a:pt x="3540" y="178"/>
                    <a:pt x="3542" y="141"/>
                    <a:pt x="3544" y="101"/>
                  </a:cubicBezTo>
                  <a:cubicBezTo>
                    <a:pt x="3569" y="101"/>
                    <a:pt x="3595" y="101"/>
                    <a:pt x="3622" y="101"/>
                  </a:cubicBezTo>
                  <a:cubicBezTo>
                    <a:pt x="3624" y="67"/>
                    <a:pt x="3626" y="34"/>
                    <a:pt x="3628" y="0"/>
                  </a:cubicBezTo>
                  <a:cubicBezTo>
                    <a:pt x="3645" y="1"/>
                    <a:pt x="3661" y="3"/>
                    <a:pt x="3679" y="5"/>
                  </a:cubicBezTo>
                  <a:cubicBezTo>
                    <a:pt x="3679" y="36"/>
                    <a:pt x="3679" y="67"/>
                    <a:pt x="3679" y="99"/>
                  </a:cubicBezTo>
                  <a:cubicBezTo>
                    <a:pt x="3705" y="101"/>
                    <a:pt x="3729" y="103"/>
                    <a:pt x="3754" y="106"/>
                  </a:cubicBezTo>
                  <a:cubicBezTo>
                    <a:pt x="3754" y="143"/>
                    <a:pt x="3754" y="180"/>
                    <a:pt x="3754" y="220"/>
                  </a:cubicBezTo>
                  <a:cubicBezTo>
                    <a:pt x="3728" y="220"/>
                    <a:pt x="3703" y="220"/>
                    <a:pt x="3674" y="220"/>
                  </a:cubicBezTo>
                  <a:cubicBezTo>
                    <a:pt x="3674" y="312"/>
                    <a:pt x="3674" y="403"/>
                    <a:pt x="3674" y="495"/>
                  </a:cubicBezTo>
                  <a:cubicBezTo>
                    <a:pt x="3695" y="497"/>
                    <a:pt x="3718" y="499"/>
                    <a:pt x="3741" y="501"/>
                  </a:cubicBezTo>
                  <a:cubicBezTo>
                    <a:pt x="3744" y="483"/>
                    <a:pt x="3746" y="467"/>
                    <a:pt x="3749" y="447"/>
                  </a:cubicBezTo>
                  <a:cubicBezTo>
                    <a:pt x="3777" y="448"/>
                    <a:pt x="3806" y="451"/>
                    <a:pt x="3835" y="452"/>
                  </a:cubicBezTo>
                  <a:cubicBezTo>
                    <a:pt x="3861" y="453"/>
                    <a:pt x="3887" y="450"/>
                    <a:pt x="3913" y="453"/>
                  </a:cubicBezTo>
                  <a:cubicBezTo>
                    <a:pt x="3951" y="457"/>
                    <a:pt x="3989" y="463"/>
                    <a:pt x="4023" y="484"/>
                  </a:cubicBezTo>
                  <a:cubicBezTo>
                    <a:pt x="4072" y="514"/>
                    <a:pt x="4106" y="557"/>
                    <a:pt x="4125" y="610"/>
                  </a:cubicBezTo>
                  <a:cubicBezTo>
                    <a:pt x="4135" y="638"/>
                    <a:pt x="4140" y="669"/>
                    <a:pt x="4142" y="700"/>
                  </a:cubicBezTo>
                  <a:cubicBezTo>
                    <a:pt x="4149" y="786"/>
                    <a:pt x="4135" y="870"/>
                    <a:pt x="4103" y="951"/>
                  </a:cubicBezTo>
                  <a:cubicBezTo>
                    <a:pt x="4082" y="1003"/>
                    <a:pt x="4054" y="1052"/>
                    <a:pt x="4012" y="1092"/>
                  </a:cubicBezTo>
                  <a:cubicBezTo>
                    <a:pt x="3997" y="1107"/>
                    <a:pt x="3989" y="1123"/>
                    <a:pt x="3991" y="1145"/>
                  </a:cubicBezTo>
                  <a:cubicBezTo>
                    <a:pt x="3992" y="1179"/>
                    <a:pt x="3991" y="1213"/>
                    <a:pt x="3991" y="1247"/>
                  </a:cubicBezTo>
                  <a:cubicBezTo>
                    <a:pt x="3991" y="1271"/>
                    <a:pt x="3965" y="1304"/>
                    <a:pt x="3939" y="1311"/>
                  </a:cubicBezTo>
                  <a:cubicBezTo>
                    <a:pt x="3924" y="1316"/>
                    <a:pt x="3906" y="1316"/>
                    <a:pt x="3891" y="1318"/>
                  </a:cubicBezTo>
                  <a:cubicBezTo>
                    <a:pt x="3950" y="1492"/>
                    <a:pt x="4179" y="1639"/>
                    <a:pt x="4410" y="1627"/>
                  </a:cubicBezTo>
                  <a:cubicBezTo>
                    <a:pt x="4412" y="1582"/>
                    <a:pt x="4416" y="1537"/>
                    <a:pt x="4414" y="1492"/>
                  </a:cubicBezTo>
                  <a:cubicBezTo>
                    <a:pt x="4413" y="1478"/>
                    <a:pt x="4397" y="1464"/>
                    <a:pt x="4387" y="1451"/>
                  </a:cubicBezTo>
                  <a:cubicBezTo>
                    <a:pt x="4325" y="1372"/>
                    <a:pt x="4333" y="1255"/>
                    <a:pt x="4393" y="1180"/>
                  </a:cubicBezTo>
                  <a:cubicBezTo>
                    <a:pt x="4433" y="1130"/>
                    <a:pt x="4483" y="1099"/>
                    <a:pt x="4548" y="1096"/>
                  </a:cubicBezTo>
                  <a:cubicBezTo>
                    <a:pt x="4563" y="1095"/>
                    <a:pt x="4578" y="1093"/>
                    <a:pt x="4596" y="1091"/>
                  </a:cubicBezTo>
                  <a:cubicBezTo>
                    <a:pt x="4594" y="1111"/>
                    <a:pt x="4592" y="1129"/>
                    <a:pt x="4590" y="1149"/>
                  </a:cubicBezTo>
                  <a:cubicBezTo>
                    <a:pt x="4609" y="1147"/>
                    <a:pt x="4625" y="1145"/>
                    <a:pt x="4644" y="1143"/>
                  </a:cubicBezTo>
                  <a:cubicBezTo>
                    <a:pt x="4644" y="1088"/>
                    <a:pt x="4644" y="1033"/>
                    <a:pt x="4644" y="977"/>
                  </a:cubicBezTo>
                  <a:cubicBezTo>
                    <a:pt x="4623" y="977"/>
                    <a:pt x="4600" y="977"/>
                    <a:pt x="4577" y="977"/>
                  </a:cubicBezTo>
                  <a:cubicBezTo>
                    <a:pt x="4577" y="954"/>
                    <a:pt x="4577" y="932"/>
                    <a:pt x="4577" y="907"/>
                  </a:cubicBezTo>
                  <a:cubicBezTo>
                    <a:pt x="4599" y="909"/>
                    <a:pt x="4622" y="911"/>
                    <a:pt x="4647" y="912"/>
                  </a:cubicBezTo>
                  <a:cubicBezTo>
                    <a:pt x="4647" y="891"/>
                    <a:pt x="4647" y="870"/>
                    <a:pt x="4647" y="849"/>
                  </a:cubicBezTo>
                  <a:cubicBezTo>
                    <a:pt x="4674" y="849"/>
                    <a:pt x="4699" y="849"/>
                    <a:pt x="4726" y="849"/>
                  </a:cubicBezTo>
                  <a:cubicBezTo>
                    <a:pt x="4726" y="869"/>
                    <a:pt x="4726" y="890"/>
                    <a:pt x="4726" y="912"/>
                  </a:cubicBezTo>
                  <a:cubicBezTo>
                    <a:pt x="4748" y="912"/>
                    <a:pt x="4767" y="912"/>
                    <a:pt x="4788" y="912"/>
                  </a:cubicBezTo>
                  <a:cubicBezTo>
                    <a:pt x="4786" y="935"/>
                    <a:pt x="4784" y="956"/>
                    <a:pt x="4782" y="979"/>
                  </a:cubicBezTo>
                  <a:cubicBezTo>
                    <a:pt x="4764" y="979"/>
                    <a:pt x="4745" y="979"/>
                    <a:pt x="4724" y="979"/>
                  </a:cubicBezTo>
                  <a:cubicBezTo>
                    <a:pt x="4722" y="1036"/>
                    <a:pt x="4720" y="1091"/>
                    <a:pt x="4718" y="1146"/>
                  </a:cubicBezTo>
                  <a:cubicBezTo>
                    <a:pt x="4733" y="1149"/>
                    <a:pt x="4747" y="1151"/>
                    <a:pt x="4761" y="1153"/>
                  </a:cubicBezTo>
                  <a:cubicBezTo>
                    <a:pt x="4764" y="1132"/>
                    <a:pt x="4766" y="1113"/>
                    <a:pt x="4769" y="1093"/>
                  </a:cubicBezTo>
                  <a:cubicBezTo>
                    <a:pt x="4832" y="1096"/>
                    <a:pt x="4891" y="1108"/>
                    <a:pt x="4940" y="1154"/>
                  </a:cubicBezTo>
                  <a:cubicBezTo>
                    <a:pt x="4983" y="1194"/>
                    <a:pt x="5005" y="1240"/>
                    <a:pt x="5012" y="1299"/>
                  </a:cubicBezTo>
                  <a:cubicBezTo>
                    <a:pt x="5019" y="1352"/>
                    <a:pt x="5003" y="1397"/>
                    <a:pt x="4978" y="1440"/>
                  </a:cubicBezTo>
                  <a:cubicBezTo>
                    <a:pt x="4969" y="1456"/>
                    <a:pt x="4952" y="1467"/>
                    <a:pt x="4941" y="1481"/>
                  </a:cubicBezTo>
                  <a:cubicBezTo>
                    <a:pt x="4936" y="1487"/>
                    <a:pt x="4932" y="1496"/>
                    <a:pt x="4931" y="1503"/>
                  </a:cubicBezTo>
                  <a:cubicBezTo>
                    <a:pt x="4930" y="1540"/>
                    <a:pt x="4931" y="1577"/>
                    <a:pt x="4931" y="1613"/>
                  </a:cubicBezTo>
                  <a:cubicBezTo>
                    <a:pt x="4931" y="1623"/>
                    <a:pt x="4934" y="1632"/>
                    <a:pt x="4936" y="1643"/>
                  </a:cubicBezTo>
                  <a:cubicBezTo>
                    <a:pt x="5035" y="1622"/>
                    <a:pt x="5122" y="1577"/>
                    <a:pt x="5196" y="1509"/>
                  </a:cubicBezTo>
                  <a:cubicBezTo>
                    <a:pt x="5234" y="1473"/>
                    <a:pt x="5267" y="1432"/>
                    <a:pt x="5272" y="1377"/>
                  </a:cubicBezTo>
                  <a:cubicBezTo>
                    <a:pt x="5273" y="1355"/>
                    <a:pt x="5270" y="1330"/>
                    <a:pt x="5262" y="1309"/>
                  </a:cubicBezTo>
                  <a:cubicBezTo>
                    <a:pt x="5250" y="1273"/>
                    <a:pt x="5229" y="1242"/>
                    <a:pt x="5197" y="1220"/>
                  </a:cubicBezTo>
                  <a:cubicBezTo>
                    <a:pt x="5169" y="1201"/>
                    <a:pt x="5157" y="1173"/>
                    <a:pt x="5148" y="1142"/>
                  </a:cubicBezTo>
                  <a:cubicBezTo>
                    <a:pt x="5135" y="1097"/>
                    <a:pt x="5150" y="1056"/>
                    <a:pt x="5175" y="1020"/>
                  </a:cubicBezTo>
                  <a:cubicBezTo>
                    <a:pt x="5183" y="1008"/>
                    <a:pt x="5203" y="1003"/>
                    <a:pt x="5216" y="993"/>
                  </a:cubicBezTo>
                  <a:cubicBezTo>
                    <a:pt x="5237" y="976"/>
                    <a:pt x="5260" y="959"/>
                    <a:pt x="5277" y="938"/>
                  </a:cubicBezTo>
                  <a:cubicBezTo>
                    <a:pt x="5298" y="913"/>
                    <a:pt x="5317" y="885"/>
                    <a:pt x="5323" y="851"/>
                  </a:cubicBezTo>
                  <a:cubicBezTo>
                    <a:pt x="5326" y="837"/>
                    <a:pt x="5355" y="822"/>
                    <a:pt x="5373" y="824"/>
                  </a:cubicBezTo>
                  <a:cubicBezTo>
                    <a:pt x="5389" y="827"/>
                    <a:pt x="5404" y="832"/>
                    <a:pt x="5420" y="836"/>
                  </a:cubicBezTo>
                  <a:cubicBezTo>
                    <a:pt x="5450" y="846"/>
                    <a:pt x="5466" y="872"/>
                    <a:pt x="5481" y="897"/>
                  </a:cubicBezTo>
                  <a:cubicBezTo>
                    <a:pt x="5501" y="931"/>
                    <a:pt x="5518" y="968"/>
                    <a:pt x="5538" y="1002"/>
                  </a:cubicBezTo>
                  <a:cubicBezTo>
                    <a:pt x="5549" y="1020"/>
                    <a:pt x="5563" y="1036"/>
                    <a:pt x="5577" y="1052"/>
                  </a:cubicBezTo>
                  <a:cubicBezTo>
                    <a:pt x="5639" y="1122"/>
                    <a:pt x="5713" y="1173"/>
                    <a:pt x="5799" y="1209"/>
                  </a:cubicBezTo>
                  <a:cubicBezTo>
                    <a:pt x="5825" y="1220"/>
                    <a:pt x="5853" y="1226"/>
                    <a:pt x="5881" y="1232"/>
                  </a:cubicBezTo>
                  <a:cubicBezTo>
                    <a:pt x="5950" y="1247"/>
                    <a:pt x="5991" y="1289"/>
                    <a:pt x="6007" y="1357"/>
                  </a:cubicBezTo>
                  <a:cubicBezTo>
                    <a:pt x="6020" y="1417"/>
                    <a:pt x="5990" y="1488"/>
                    <a:pt x="5933" y="1516"/>
                  </a:cubicBezTo>
                  <a:cubicBezTo>
                    <a:pt x="5922" y="1521"/>
                    <a:pt x="5913" y="1529"/>
                    <a:pt x="5903" y="1534"/>
                  </a:cubicBezTo>
                  <a:cubicBezTo>
                    <a:pt x="5888" y="1541"/>
                    <a:pt x="5885" y="1554"/>
                    <a:pt x="5889" y="1567"/>
                  </a:cubicBezTo>
                  <a:cubicBezTo>
                    <a:pt x="5892" y="1582"/>
                    <a:pt x="5904" y="1591"/>
                    <a:pt x="5920" y="1592"/>
                  </a:cubicBezTo>
                  <a:cubicBezTo>
                    <a:pt x="5950" y="1594"/>
                    <a:pt x="5981" y="1597"/>
                    <a:pt x="6011" y="1596"/>
                  </a:cubicBezTo>
                  <a:cubicBezTo>
                    <a:pt x="6060" y="1593"/>
                    <a:pt x="6095" y="1614"/>
                    <a:pt x="6119" y="1655"/>
                  </a:cubicBezTo>
                  <a:cubicBezTo>
                    <a:pt x="6135" y="1682"/>
                    <a:pt x="6139" y="1711"/>
                    <a:pt x="6129" y="1740"/>
                  </a:cubicBezTo>
                  <a:cubicBezTo>
                    <a:pt x="6114" y="1730"/>
                    <a:pt x="6098" y="1719"/>
                    <a:pt x="6082" y="1708"/>
                  </a:cubicBezTo>
                  <a:cubicBezTo>
                    <a:pt x="6060" y="1693"/>
                    <a:pt x="6038" y="1704"/>
                    <a:pt x="6016" y="1709"/>
                  </a:cubicBezTo>
                  <a:cubicBezTo>
                    <a:pt x="6001" y="1712"/>
                    <a:pt x="5984" y="1716"/>
                    <a:pt x="5969" y="1714"/>
                  </a:cubicBezTo>
                  <a:cubicBezTo>
                    <a:pt x="5923" y="1709"/>
                    <a:pt x="5880" y="1715"/>
                    <a:pt x="5837" y="1728"/>
                  </a:cubicBezTo>
                  <a:cubicBezTo>
                    <a:pt x="5835" y="1728"/>
                    <a:pt x="5834" y="1729"/>
                    <a:pt x="5828" y="1733"/>
                  </a:cubicBezTo>
                  <a:cubicBezTo>
                    <a:pt x="5859" y="1738"/>
                    <a:pt x="5870" y="1760"/>
                    <a:pt x="5877" y="1782"/>
                  </a:cubicBezTo>
                  <a:cubicBezTo>
                    <a:pt x="5881" y="1794"/>
                    <a:pt x="5881" y="1810"/>
                    <a:pt x="5877" y="1823"/>
                  </a:cubicBezTo>
                  <a:cubicBezTo>
                    <a:pt x="5866" y="1859"/>
                    <a:pt x="5848" y="1881"/>
                    <a:pt x="5807" y="1883"/>
                  </a:cubicBezTo>
                  <a:cubicBezTo>
                    <a:pt x="5808" y="1865"/>
                    <a:pt x="5812" y="1847"/>
                    <a:pt x="5811" y="1829"/>
                  </a:cubicBezTo>
                  <a:cubicBezTo>
                    <a:pt x="5808" y="1800"/>
                    <a:pt x="5790" y="1781"/>
                    <a:pt x="5764" y="1768"/>
                  </a:cubicBezTo>
                  <a:cubicBezTo>
                    <a:pt x="5728" y="1752"/>
                    <a:pt x="5695" y="1731"/>
                    <a:pt x="5669" y="1700"/>
                  </a:cubicBezTo>
                  <a:cubicBezTo>
                    <a:pt x="5634" y="1658"/>
                    <a:pt x="5614" y="1613"/>
                    <a:pt x="5622" y="1555"/>
                  </a:cubicBezTo>
                  <a:cubicBezTo>
                    <a:pt x="5627" y="1510"/>
                    <a:pt x="5640" y="1471"/>
                    <a:pt x="5667" y="1436"/>
                  </a:cubicBezTo>
                  <a:cubicBezTo>
                    <a:pt x="5671" y="1431"/>
                    <a:pt x="5675" y="1425"/>
                    <a:pt x="5680" y="1422"/>
                  </a:cubicBezTo>
                  <a:cubicBezTo>
                    <a:pt x="5707" y="1407"/>
                    <a:pt x="5721" y="1385"/>
                    <a:pt x="5723" y="1355"/>
                  </a:cubicBezTo>
                  <a:cubicBezTo>
                    <a:pt x="5724" y="1331"/>
                    <a:pt x="5726" y="1307"/>
                    <a:pt x="5727" y="1283"/>
                  </a:cubicBezTo>
                  <a:cubicBezTo>
                    <a:pt x="5727" y="1278"/>
                    <a:pt x="5723" y="1271"/>
                    <a:pt x="5719" y="1267"/>
                  </a:cubicBezTo>
                  <a:cubicBezTo>
                    <a:pt x="5673" y="1225"/>
                    <a:pt x="5624" y="1187"/>
                    <a:pt x="5568" y="1158"/>
                  </a:cubicBezTo>
                  <a:cubicBezTo>
                    <a:pt x="5516" y="1132"/>
                    <a:pt x="5462" y="1119"/>
                    <a:pt x="5406" y="1108"/>
                  </a:cubicBezTo>
                  <a:cubicBezTo>
                    <a:pt x="5400" y="1107"/>
                    <a:pt x="5393" y="1106"/>
                    <a:pt x="5384" y="1104"/>
                  </a:cubicBezTo>
                  <a:cubicBezTo>
                    <a:pt x="5394" y="1129"/>
                    <a:pt x="5405" y="1152"/>
                    <a:pt x="5410" y="1177"/>
                  </a:cubicBezTo>
                  <a:cubicBezTo>
                    <a:pt x="5418" y="1214"/>
                    <a:pt x="5420" y="1253"/>
                    <a:pt x="5428" y="1291"/>
                  </a:cubicBezTo>
                  <a:cubicBezTo>
                    <a:pt x="5437" y="1333"/>
                    <a:pt x="5426" y="1373"/>
                    <a:pt x="5416" y="1413"/>
                  </a:cubicBezTo>
                  <a:cubicBezTo>
                    <a:pt x="5403" y="1463"/>
                    <a:pt x="5379" y="1508"/>
                    <a:pt x="5351" y="1551"/>
                  </a:cubicBezTo>
                  <a:cubicBezTo>
                    <a:pt x="5300" y="1629"/>
                    <a:pt x="5225" y="1678"/>
                    <a:pt x="5142" y="1714"/>
                  </a:cubicBezTo>
                  <a:cubicBezTo>
                    <a:pt x="5121" y="1723"/>
                    <a:pt x="5099" y="1728"/>
                    <a:pt x="5077" y="1730"/>
                  </a:cubicBezTo>
                  <a:cubicBezTo>
                    <a:pt x="5062" y="1732"/>
                    <a:pt x="5058" y="1741"/>
                    <a:pt x="5055" y="1753"/>
                  </a:cubicBezTo>
                  <a:cubicBezTo>
                    <a:pt x="5053" y="1764"/>
                    <a:pt x="5053" y="1775"/>
                    <a:pt x="5052" y="1788"/>
                  </a:cubicBezTo>
                  <a:cubicBezTo>
                    <a:pt x="5140" y="1781"/>
                    <a:pt x="5213" y="1815"/>
                    <a:pt x="5266" y="1882"/>
                  </a:cubicBezTo>
                  <a:cubicBezTo>
                    <a:pt x="5319" y="1949"/>
                    <a:pt x="5332" y="2028"/>
                    <a:pt x="5305" y="2111"/>
                  </a:cubicBezTo>
                  <a:cubicBezTo>
                    <a:pt x="5156" y="2084"/>
                    <a:pt x="5026" y="2120"/>
                    <a:pt x="4923" y="2230"/>
                  </a:cubicBezTo>
                  <a:cubicBezTo>
                    <a:pt x="4977" y="2225"/>
                    <a:pt x="5034" y="2218"/>
                    <a:pt x="5091" y="2223"/>
                  </a:cubicBezTo>
                  <a:cubicBezTo>
                    <a:pt x="5144" y="2228"/>
                    <a:pt x="5194" y="2241"/>
                    <a:pt x="5239" y="2265"/>
                  </a:cubicBezTo>
                  <a:cubicBezTo>
                    <a:pt x="5267" y="2281"/>
                    <a:pt x="5295" y="2295"/>
                    <a:pt x="5327" y="2302"/>
                  </a:cubicBezTo>
                  <a:cubicBezTo>
                    <a:pt x="5369" y="2311"/>
                    <a:pt x="5412" y="2310"/>
                    <a:pt x="5451" y="2290"/>
                  </a:cubicBezTo>
                  <a:cubicBezTo>
                    <a:pt x="5481" y="2274"/>
                    <a:pt x="5508" y="2255"/>
                    <a:pt x="5537" y="2237"/>
                  </a:cubicBezTo>
                  <a:cubicBezTo>
                    <a:pt x="5530" y="2265"/>
                    <a:pt x="5515" y="2293"/>
                    <a:pt x="5497" y="2320"/>
                  </a:cubicBezTo>
                  <a:cubicBezTo>
                    <a:pt x="5463" y="2371"/>
                    <a:pt x="5414" y="2406"/>
                    <a:pt x="5356" y="2424"/>
                  </a:cubicBezTo>
                  <a:cubicBezTo>
                    <a:pt x="5327" y="2433"/>
                    <a:pt x="5295" y="2432"/>
                    <a:pt x="5264" y="2432"/>
                  </a:cubicBezTo>
                  <a:cubicBezTo>
                    <a:pt x="5242" y="2432"/>
                    <a:pt x="5220" y="2426"/>
                    <a:pt x="5198" y="2421"/>
                  </a:cubicBezTo>
                  <a:cubicBezTo>
                    <a:pt x="5151" y="2413"/>
                    <a:pt x="5121" y="2377"/>
                    <a:pt x="5083" y="2353"/>
                  </a:cubicBezTo>
                  <a:cubicBezTo>
                    <a:pt x="5045" y="2327"/>
                    <a:pt x="5006" y="2303"/>
                    <a:pt x="4958" y="2300"/>
                  </a:cubicBezTo>
                  <a:cubicBezTo>
                    <a:pt x="4944" y="2299"/>
                    <a:pt x="4929" y="2297"/>
                    <a:pt x="4915" y="2296"/>
                  </a:cubicBezTo>
                  <a:cubicBezTo>
                    <a:pt x="5005" y="2331"/>
                    <a:pt x="5061" y="2394"/>
                    <a:pt x="5079" y="2495"/>
                  </a:cubicBezTo>
                  <a:cubicBezTo>
                    <a:pt x="5054" y="2478"/>
                    <a:pt x="5029" y="2465"/>
                    <a:pt x="5009" y="2447"/>
                  </a:cubicBezTo>
                  <a:cubicBezTo>
                    <a:pt x="4972" y="2413"/>
                    <a:pt x="4928" y="2395"/>
                    <a:pt x="4881" y="2385"/>
                  </a:cubicBezTo>
                  <a:cubicBezTo>
                    <a:pt x="4845" y="2377"/>
                    <a:pt x="4808" y="2373"/>
                    <a:pt x="4772" y="2368"/>
                  </a:cubicBezTo>
                  <a:cubicBezTo>
                    <a:pt x="4703" y="2359"/>
                    <a:pt x="4636" y="2368"/>
                    <a:pt x="4569" y="2384"/>
                  </a:cubicBezTo>
                  <a:cubicBezTo>
                    <a:pt x="4521" y="2397"/>
                    <a:pt x="4480" y="2424"/>
                    <a:pt x="4442" y="2455"/>
                  </a:cubicBezTo>
                  <a:cubicBezTo>
                    <a:pt x="4384" y="2504"/>
                    <a:pt x="4339" y="2562"/>
                    <a:pt x="4304" y="2628"/>
                  </a:cubicBezTo>
                  <a:cubicBezTo>
                    <a:pt x="4271" y="2689"/>
                    <a:pt x="4253" y="2754"/>
                    <a:pt x="4247" y="2824"/>
                  </a:cubicBezTo>
                  <a:cubicBezTo>
                    <a:pt x="4245" y="2848"/>
                    <a:pt x="4238" y="2872"/>
                    <a:pt x="4240" y="2896"/>
                  </a:cubicBezTo>
                  <a:cubicBezTo>
                    <a:pt x="4244" y="2943"/>
                    <a:pt x="4250" y="2990"/>
                    <a:pt x="4261" y="3035"/>
                  </a:cubicBezTo>
                  <a:cubicBezTo>
                    <a:pt x="4271" y="3075"/>
                    <a:pt x="4286" y="3114"/>
                    <a:pt x="4303" y="3150"/>
                  </a:cubicBezTo>
                  <a:cubicBezTo>
                    <a:pt x="4324" y="3194"/>
                    <a:pt x="4362" y="3222"/>
                    <a:pt x="4406" y="3240"/>
                  </a:cubicBezTo>
                  <a:cubicBezTo>
                    <a:pt x="4411" y="3242"/>
                    <a:pt x="4417" y="3244"/>
                    <a:pt x="4422" y="3246"/>
                  </a:cubicBezTo>
                  <a:cubicBezTo>
                    <a:pt x="4478" y="3268"/>
                    <a:pt x="4542" y="3232"/>
                    <a:pt x="4551" y="3173"/>
                  </a:cubicBezTo>
                  <a:cubicBezTo>
                    <a:pt x="4552" y="3165"/>
                    <a:pt x="4555" y="3157"/>
                    <a:pt x="4558" y="3145"/>
                  </a:cubicBezTo>
                  <a:cubicBezTo>
                    <a:pt x="4573" y="3168"/>
                    <a:pt x="4582" y="3188"/>
                    <a:pt x="4588" y="3212"/>
                  </a:cubicBezTo>
                  <a:cubicBezTo>
                    <a:pt x="4599" y="3259"/>
                    <a:pt x="4576" y="3294"/>
                    <a:pt x="4554" y="3329"/>
                  </a:cubicBezTo>
                  <a:cubicBezTo>
                    <a:pt x="4544" y="3344"/>
                    <a:pt x="4525" y="3354"/>
                    <a:pt x="4509" y="3363"/>
                  </a:cubicBezTo>
                  <a:cubicBezTo>
                    <a:pt x="4469" y="3384"/>
                    <a:pt x="4425" y="3382"/>
                    <a:pt x="4381" y="3378"/>
                  </a:cubicBezTo>
                  <a:cubicBezTo>
                    <a:pt x="4359" y="3375"/>
                    <a:pt x="4335" y="3377"/>
                    <a:pt x="4312" y="3377"/>
                  </a:cubicBezTo>
                  <a:cubicBezTo>
                    <a:pt x="4325" y="3441"/>
                    <a:pt x="4393" y="3474"/>
                    <a:pt x="4435" y="3480"/>
                  </a:cubicBezTo>
                  <a:cubicBezTo>
                    <a:pt x="4453" y="3483"/>
                    <a:pt x="4471" y="3487"/>
                    <a:pt x="4490" y="3488"/>
                  </a:cubicBezTo>
                  <a:cubicBezTo>
                    <a:pt x="4553" y="3490"/>
                    <a:pt x="4623" y="3469"/>
                    <a:pt x="4655" y="3400"/>
                  </a:cubicBezTo>
                  <a:cubicBezTo>
                    <a:pt x="4668" y="3372"/>
                    <a:pt x="4677" y="3343"/>
                    <a:pt x="4689" y="3312"/>
                  </a:cubicBezTo>
                  <a:cubicBezTo>
                    <a:pt x="4704" y="3345"/>
                    <a:pt x="4727" y="3373"/>
                    <a:pt x="4732" y="3413"/>
                  </a:cubicBezTo>
                  <a:cubicBezTo>
                    <a:pt x="4738" y="3462"/>
                    <a:pt x="4731" y="3505"/>
                    <a:pt x="4706" y="3545"/>
                  </a:cubicBezTo>
                  <a:cubicBezTo>
                    <a:pt x="4668" y="3608"/>
                    <a:pt x="4614" y="3651"/>
                    <a:pt x="4539" y="3664"/>
                  </a:cubicBezTo>
                  <a:cubicBezTo>
                    <a:pt x="4523" y="3667"/>
                    <a:pt x="4507" y="3669"/>
                    <a:pt x="4485" y="3673"/>
                  </a:cubicBezTo>
                  <a:cubicBezTo>
                    <a:pt x="4511" y="3702"/>
                    <a:pt x="4533" y="3725"/>
                    <a:pt x="4555" y="3750"/>
                  </a:cubicBezTo>
                  <a:cubicBezTo>
                    <a:pt x="4581" y="3781"/>
                    <a:pt x="4617" y="3797"/>
                    <a:pt x="4652" y="3814"/>
                  </a:cubicBezTo>
                  <a:cubicBezTo>
                    <a:pt x="4677" y="3826"/>
                    <a:pt x="4706" y="3831"/>
                    <a:pt x="4735" y="3836"/>
                  </a:cubicBezTo>
                  <a:cubicBezTo>
                    <a:pt x="4781" y="3844"/>
                    <a:pt x="4828" y="3843"/>
                    <a:pt x="4874" y="3831"/>
                  </a:cubicBezTo>
                  <a:cubicBezTo>
                    <a:pt x="4906" y="3823"/>
                    <a:pt x="4937" y="3807"/>
                    <a:pt x="4968" y="3793"/>
                  </a:cubicBezTo>
                  <a:cubicBezTo>
                    <a:pt x="5018" y="3770"/>
                    <a:pt x="5055" y="3730"/>
                    <a:pt x="5089" y="3688"/>
                  </a:cubicBezTo>
                  <a:cubicBezTo>
                    <a:pt x="5127" y="3640"/>
                    <a:pt x="5116" y="3562"/>
                    <a:pt x="5059" y="3534"/>
                  </a:cubicBezTo>
                  <a:cubicBezTo>
                    <a:pt x="4971" y="3491"/>
                    <a:pt x="4913" y="3422"/>
                    <a:pt x="4893" y="3325"/>
                  </a:cubicBezTo>
                  <a:cubicBezTo>
                    <a:pt x="4875" y="3242"/>
                    <a:pt x="4896" y="3164"/>
                    <a:pt x="4951" y="3099"/>
                  </a:cubicBezTo>
                  <a:cubicBezTo>
                    <a:pt x="5002" y="3039"/>
                    <a:pt x="5056" y="2980"/>
                    <a:pt x="5113" y="2925"/>
                  </a:cubicBezTo>
                  <a:cubicBezTo>
                    <a:pt x="5171" y="2871"/>
                    <a:pt x="5234" y="2822"/>
                    <a:pt x="5297" y="2773"/>
                  </a:cubicBezTo>
                  <a:cubicBezTo>
                    <a:pt x="5345" y="2736"/>
                    <a:pt x="5399" y="2707"/>
                    <a:pt x="5444" y="2668"/>
                  </a:cubicBezTo>
                  <a:cubicBezTo>
                    <a:pt x="5479" y="2637"/>
                    <a:pt x="5505" y="2596"/>
                    <a:pt x="5535" y="2559"/>
                  </a:cubicBezTo>
                  <a:cubicBezTo>
                    <a:pt x="5540" y="2553"/>
                    <a:pt x="5543" y="2545"/>
                    <a:pt x="5548" y="2535"/>
                  </a:cubicBezTo>
                  <a:cubicBezTo>
                    <a:pt x="5558" y="2555"/>
                    <a:pt x="5567" y="2573"/>
                    <a:pt x="5578" y="2593"/>
                  </a:cubicBezTo>
                  <a:cubicBezTo>
                    <a:pt x="5715" y="2480"/>
                    <a:pt x="5818" y="2341"/>
                    <a:pt x="5903" y="2185"/>
                  </a:cubicBezTo>
                  <a:cubicBezTo>
                    <a:pt x="5911" y="2190"/>
                    <a:pt x="5918" y="2195"/>
                    <a:pt x="5925" y="2200"/>
                  </a:cubicBezTo>
                  <a:cubicBezTo>
                    <a:pt x="5933" y="2205"/>
                    <a:pt x="5941" y="2210"/>
                    <a:pt x="5948" y="2215"/>
                  </a:cubicBezTo>
                  <a:cubicBezTo>
                    <a:pt x="6206" y="1868"/>
                    <a:pt x="6398" y="1490"/>
                    <a:pt x="6499" y="1062"/>
                  </a:cubicBezTo>
                  <a:cubicBezTo>
                    <a:pt x="6518" y="1083"/>
                    <a:pt x="6534" y="1099"/>
                    <a:pt x="6548" y="1116"/>
                  </a:cubicBezTo>
                  <a:cubicBezTo>
                    <a:pt x="6611" y="1191"/>
                    <a:pt x="6653" y="1278"/>
                    <a:pt x="6676" y="1372"/>
                  </a:cubicBezTo>
                  <a:cubicBezTo>
                    <a:pt x="6697" y="1454"/>
                    <a:pt x="6702" y="1536"/>
                    <a:pt x="6688" y="1621"/>
                  </a:cubicBezTo>
                  <a:cubicBezTo>
                    <a:pt x="6681" y="1667"/>
                    <a:pt x="6671" y="1712"/>
                    <a:pt x="6653" y="1755"/>
                  </a:cubicBezTo>
                  <a:cubicBezTo>
                    <a:pt x="6638" y="1790"/>
                    <a:pt x="6615" y="1823"/>
                    <a:pt x="6595" y="1856"/>
                  </a:cubicBezTo>
                  <a:cubicBezTo>
                    <a:pt x="6533" y="1955"/>
                    <a:pt x="6471" y="2053"/>
                    <a:pt x="6410" y="2151"/>
                  </a:cubicBezTo>
                  <a:cubicBezTo>
                    <a:pt x="6408" y="2154"/>
                    <a:pt x="6405" y="2157"/>
                    <a:pt x="6405" y="2163"/>
                  </a:cubicBezTo>
                  <a:cubicBezTo>
                    <a:pt x="6414" y="2155"/>
                    <a:pt x="6423" y="2147"/>
                    <a:pt x="6430" y="2139"/>
                  </a:cubicBezTo>
                  <a:cubicBezTo>
                    <a:pt x="6469" y="2096"/>
                    <a:pt x="6508" y="2054"/>
                    <a:pt x="6546" y="2011"/>
                  </a:cubicBezTo>
                  <a:cubicBezTo>
                    <a:pt x="6603" y="1948"/>
                    <a:pt x="6659" y="1885"/>
                    <a:pt x="6715" y="1822"/>
                  </a:cubicBezTo>
                  <a:cubicBezTo>
                    <a:pt x="6747" y="1787"/>
                    <a:pt x="6779" y="1753"/>
                    <a:pt x="6811" y="1718"/>
                  </a:cubicBezTo>
                  <a:cubicBezTo>
                    <a:pt x="6824" y="1704"/>
                    <a:pt x="6836" y="1690"/>
                    <a:pt x="6854" y="1671"/>
                  </a:cubicBezTo>
                  <a:cubicBezTo>
                    <a:pt x="6907" y="1809"/>
                    <a:pt x="6926" y="1946"/>
                    <a:pt x="6890" y="2087"/>
                  </a:cubicBezTo>
                  <a:cubicBezTo>
                    <a:pt x="6855" y="2228"/>
                    <a:pt x="6781" y="2346"/>
                    <a:pt x="6672" y="2443"/>
                  </a:cubicBezTo>
                  <a:cubicBezTo>
                    <a:pt x="6800" y="2393"/>
                    <a:pt x="6931" y="2356"/>
                    <a:pt x="7071" y="2353"/>
                  </a:cubicBezTo>
                  <a:cubicBezTo>
                    <a:pt x="7029" y="2596"/>
                    <a:pt x="6896" y="2768"/>
                    <a:pt x="6678" y="2878"/>
                  </a:cubicBezTo>
                  <a:cubicBezTo>
                    <a:pt x="6734" y="2871"/>
                    <a:pt x="6789" y="2861"/>
                    <a:pt x="6844" y="2858"/>
                  </a:cubicBezTo>
                  <a:cubicBezTo>
                    <a:pt x="6900" y="2855"/>
                    <a:pt x="6957" y="2857"/>
                    <a:pt x="7014" y="2860"/>
                  </a:cubicBezTo>
                  <a:cubicBezTo>
                    <a:pt x="7070" y="2864"/>
                    <a:pt x="7125" y="2872"/>
                    <a:pt x="7184" y="2878"/>
                  </a:cubicBezTo>
                  <a:cubicBezTo>
                    <a:pt x="7115" y="2986"/>
                    <a:pt x="7033" y="3074"/>
                    <a:pt x="6937" y="3148"/>
                  </a:cubicBezTo>
                  <a:cubicBezTo>
                    <a:pt x="6841" y="3222"/>
                    <a:pt x="6734" y="3276"/>
                    <a:pt x="6618" y="3314"/>
                  </a:cubicBezTo>
                  <a:cubicBezTo>
                    <a:pt x="6798" y="3298"/>
                    <a:pt x="6962" y="3344"/>
                    <a:pt x="7120" y="3427"/>
                  </a:cubicBezTo>
                  <a:cubicBezTo>
                    <a:pt x="6991" y="3589"/>
                    <a:pt x="6822" y="3673"/>
                    <a:pt x="6618" y="3690"/>
                  </a:cubicBezTo>
                  <a:cubicBezTo>
                    <a:pt x="6766" y="3714"/>
                    <a:pt x="6885" y="3787"/>
                    <a:pt x="6986" y="3894"/>
                  </a:cubicBezTo>
                  <a:cubicBezTo>
                    <a:pt x="6866" y="3991"/>
                    <a:pt x="6730" y="4038"/>
                    <a:pt x="6575" y="4018"/>
                  </a:cubicBezTo>
                  <a:cubicBezTo>
                    <a:pt x="6712" y="4065"/>
                    <a:pt x="6803" y="4160"/>
                    <a:pt x="6863" y="4291"/>
                  </a:cubicBezTo>
                  <a:cubicBezTo>
                    <a:pt x="6731" y="4373"/>
                    <a:pt x="6591" y="4397"/>
                    <a:pt x="6441" y="4349"/>
                  </a:cubicBezTo>
                  <a:cubicBezTo>
                    <a:pt x="6547" y="4431"/>
                    <a:pt x="6601" y="4537"/>
                    <a:pt x="6590" y="4673"/>
                  </a:cubicBezTo>
                  <a:cubicBezTo>
                    <a:pt x="6475" y="4715"/>
                    <a:pt x="6363" y="4699"/>
                    <a:pt x="6252" y="4653"/>
                  </a:cubicBezTo>
                  <a:cubicBezTo>
                    <a:pt x="6294" y="4699"/>
                    <a:pt x="6315" y="4754"/>
                    <a:pt x="6325" y="4813"/>
                  </a:cubicBezTo>
                  <a:cubicBezTo>
                    <a:pt x="6329" y="4841"/>
                    <a:pt x="6323" y="4869"/>
                    <a:pt x="6320" y="4897"/>
                  </a:cubicBezTo>
                  <a:cubicBezTo>
                    <a:pt x="6318" y="4910"/>
                    <a:pt x="6313" y="4921"/>
                    <a:pt x="6310" y="4933"/>
                  </a:cubicBezTo>
                  <a:cubicBezTo>
                    <a:pt x="6307" y="4951"/>
                    <a:pt x="6296" y="4958"/>
                    <a:pt x="6279" y="4963"/>
                  </a:cubicBezTo>
                  <a:cubicBezTo>
                    <a:pt x="6199" y="4986"/>
                    <a:pt x="6126" y="4967"/>
                    <a:pt x="6057" y="4927"/>
                  </a:cubicBezTo>
                  <a:cubicBezTo>
                    <a:pt x="6041" y="4917"/>
                    <a:pt x="6028" y="4902"/>
                    <a:pt x="6016" y="4892"/>
                  </a:cubicBezTo>
                  <a:cubicBezTo>
                    <a:pt x="6013" y="4920"/>
                    <a:pt x="6011" y="4950"/>
                    <a:pt x="6007" y="4979"/>
                  </a:cubicBezTo>
                  <a:cubicBezTo>
                    <a:pt x="6001" y="5019"/>
                    <a:pt x="5982" y="5052"/>
                    <a:pt x="5960" y="5085"/>
                  </a:cubicBezTo>
                  <a:cubicBezTo>
                    <a:pt x="5944" y="5110"/>
                    <a:pt x="5919" y="5114"/>
                    <a:pt x="5894" y="5116"/>
                  </a:cubicBezTo>
                  <a:cubicBezTo>
                    <a:pt x="5844" y="5119"/>
                    <a:pt x="5796" y="5112"/>
                    <a:pt x="5751" y="5087"/>
                  </a:cubicBezTo>
                  <a:cubicBezTo>
                    <a:pt x="5715" y="5066"/>
                    <a:pt x="5688" y="5037"/>
                    <a:pt x="5666" y="5002"/>
                  </a:cubicBezTo>
                  <a:cubicBezTo>
                    <a:pt x="5665" y="5000"/>
                    <a:pt x="5663" y="5000"/>
                    <a:pt x="5659" y="4996"/>
                  </a:cubicBezTo>
                  <a:cubicBezTo>
                    <a:pt x="5663" y="5108"/>
                    <a:pt x="5612" y="5179"/>
                    <a:pt x="5507" y="5212"/>
                  </a:cubicBezTo>
                  <a:cubicBezTo>
                    <a:pt x="5473" y="5223"/>
                    <a:pt x="5439" y="5220"/>
                    <a:pt x="5405" y="5209"/>
                  </a:cubicBezTo>
                  <a:cubicBezTo>
                    <a:pt x="5371" y="5198"/>
                    <a:pt x="5339" y="5183"/>
                    <a:pt x="5317" y="5155"/>
                  </a:cubicBezTo>
                  <a:cubicBezTo>
                    <a:pt x="5296" y="5129"/>
                    <a:pt x="5280" y="5098"/>
                    <a:pt x="5263" y="5071"/>
                  </a:cubicBezTo>
                  <a:cubicBezTo>
                    <a:pt x="5261" y="5077"/>
                    <a:pt x="5258" y="5088"/>
                    <a:pt x="5254" y="5098"/>
                  </a:cubicBezTo>
                  <a:cubicBezTo>
                    <a:pt x="5227" y="5167"/>
                    <a:pt x="5175" y="5203"/>
                    <a:pt x="5104" y="5216"/>
                  </a:cubicBezTo>
                  <a:cubicBezTo>
                    <a:pt x="5058" y="5225"/>
                    <a:pt x="5018" y="5210"/>
                    <a:pt x="4982" y="5187"/>
                  </a:cubicBezTo>
                  <a:cubicBezTo>
                    <a:pt x="4946" y="5165"/>
                    <a:pt x="4919" y="5133"/>
                    <a:pt x="4904" y="5093"/>
                  </a:cubicBezTo>
                  <a:cubicBezTo>
                    <a:pt x="4899" y="5080"/>
                    <a:pt x="4896" y="5065"/>
                    <a:pt x="4895" y="5051"/>
                  </a:cubicBezTo>
                  <a:cubicBezTo>
                    <a:pt x="4894" y="4992"/>
                    <a:pt x="4895" y="4932"/>
                    <a:pt x="4895" y="4873"/>
                  </a:cubicBezTo>
                  <a:cubicBezTo>
                    <a:pt x="4896" y="4813"/>
                    <a:pt x="4898" y="4753"/>
                    <a:pt x="4899" y="4694"/>
                  </a:cubicBezTo>
                  <a:cubicBezTo>
                    <a:pt x="4899" y="4687"/>
                    <a:pt x="4899" y="4680"/>
                    <a:pt x="4899" y="4670"/>
                  </a:cubicBezTo>
                  <a:cubicBezTo>
                    <a:pt x="4857" y="4698"/>
                    <a:pt x="4814" y="4704"/>
                    <a:pt x="4767" y="4693"/>
                  </a:cubicBezTo>
                  <a:cubicBezTo>
                    <a:pt x="4719" y="4681"/>
                    <a:pt x="4686" y="4652"/>
                    <a:pt x="4662" y="4615"/>
                  </a:cubicBezTo>
                  <a:cubicBezTo>
                    <a:pt x="4634" y="4629"/>
                    <a:pt x="4606" y="4642"/>
                    <a:pt x="4579" y="4657"/>
                  </a:cubicBezTo>
                  <a:cubicBezTo>
                    <a:pt x="4572" y="4661"/>
                    <a:pt x="4568" y="4672"/>
                    <a:pt x="4568" y="4680"/>
                  </a:cubicBezTo>
                  <a:cubicBezTo>
                    <a:pt x="4564" y="4740"/>
                    <a:pt x="4554" y="4800"/>
                    <a:pt x="4561" y="4858"/>
                  </a:cubicBezTo>
                  <a:cubicBezTo>
                    <a:pt x="4571" y="4942"/>
                    <a:pt x="4592" y="5024"/>
                    <a:pt x="4637" y="5097"/>
                  </a:cubicBezTo>
                  <a:cubicBezTo>
                    <a:pt x="4649" y="5116"/>
                    <a:pt x="4659" y="5137"/>
                    <a:pt x="4671" y="5158"/>
                  </a:cubicBezTo>
                  <a:cubicBezTo>
                    <a:pt x="4622" y="5173"/>
                    <a:pt x="4579" y="5155"/>
                    <a:pt x="4537" y="5133"/>
                  </a:cubicBezTo>
                  <a:cubicBezTo>
                    <a:pt x="4570" y="5240"/>
                    <a:pt x="4698" y="5319"/>
                    <a:pt x="4834" y="5266"/>
                  </a:cubicBezTo>
                  <a:cubicBezTo>
                    <a:pt x="4844" y="5288"/>
                    <a:pt x="4838" y="5307"/>
                    <a:pt x="4812" y="5330"/>
                  </a:cubicBezTo>
                  <a:cubicBezTo>
                    <a:pt x="4835" y="5338"/>
                    <a:pt x="4857" y="5345"/>
                    <a:pt x="4879" y="5352"/>
                  </a:cubicBezTo>
                  <a:cubicBezTo>
                    <a:pt x="4944" y="5373"/>
                    <a:pt x="4994" y="5415"/>
                    <a:pt x="5033" y="5470"/>
                  </a:cubicBezTo>
                  <a:cubicBezTo>
                    <a:pt x="5056" y="5502"/>
                    <a:pt x="5076" y="5539"/>
                    <a:pt x="5090" y="5576"/>
                  </a:cubicBezTo>
                  <a:cubicBezTo>
                    <a:pt x="5104" y="5616"/>
                    <a:pt x="5114" y="5659"/>
                    <a:pt x="5103" y="5703"/>
                  </a:cubicBezTo>
                  <a:cubicBezTo>
                    <a:pt x="5103" y="5706"/>
                    <a:pt x="5103" y="5709"/>
                    <a:pt x="5103" y="5711"/>
                  </a:cubicBezTo>
                  <a:cubicBezTo>
                    <a:pt x="5102" y="5783"/>
                    <a:pt x="5097" y="5855"/>
                    <a:pt x="5100" y="5927"/>
                  </a:cubicBezTo>
                  <a:cubicBezTo>
                    <a:pt x="5102" y="5958"/>
                    <a:pt x="5097" y="5990"/>
                    <a:pt x="5113" y="6021"/>
                  </a:cubicBezTo>
                  <a:cubicBezTo>
                    <a:pt x="5147" y="6087"/>
                    <a:pt x="5216" y="6102"/>
                    <a:pt x="5273" y="6064"/>
                  </a:cubicBezTo>
                  <a:cubicBezTo>
                    <a:pt x="5276" y="6062"/>
                    <a:pt x="5280" y="6061"/>
                    <a:pt x="5285" y="6059"/>
                  </a:cubicBezTo>
                  <a:cubicBezTo>
                    <a:pt x="5277" y="6098"/>
                    <a:pt x="5258" y="6128"/>
                    <a:pt x="5228" y="6152"/>
                  </a:cubicBezTo>
                  <a:cubicBezTo>
                    <a:pt x="5183" y="6187"/>
                    <a:pt x="5133" y="6186"/>
                    <a:pt x="5081" y="6171"/>
                  </a:cubicBezTo>
                  <a:cubicBezTo>
                    <a:pt x="5032" y="6156"/>
                    <a:pt x="4991" y="6130"/>
                    <a:pt x="4961" y="6086"/>
                  </a:cubicBezTo>
                  <a:cubicBezTo>
                    <a:pt x="4943" y="6145"/>
                    <a:pt x="4970" y="6193"/>
                    <a:pt x="4997" y="6241"/>
                  </a:cubicBezTo>
                  <a:cubicBezTo>
                    <a:pt x="4933" y="6250"/>
                    <a:pt x="4876" y="6208"/>
                    <a:pt x="4861" y="6144"/>
                  </a:cubicBezTo>
                  <a:cubicBezTo>
                    <a:pt x="4845" y="6169"/>
                    <a:pt x="4851" y="6197"/>
                    <a:pt x="4861" y="6220"/>
                  </a:cubicBezTo>
                  <a:cubicBezTo>
                    <a:pt x="4870" y="6243"/>
                    <a:pt x="4889" y="6263"/>
                    <a:pt x="4902" y="6282"/>
                  </a:cubicBezTo>
                  <a:cubicBezTo>
                    <a:pt x="4844" y="6278"/>
                    <a:pt x="4798" y="6245"/>
                    <a:pt x="4759" y="6192"/>
                  </a:cubicBezTo>
                  <a:cubicBezTo>
                    <a:pt x="4759" y="6231"/>
                    <a:pt x="4775" y="6256"/>
                    <a:pt x="4793" y="6280"/>
                  </a:cubicBezTo>
                  <a:cubicBezTo>
                    <a:pt x="4819" y="6315"/>
                    <a:pt x="4859" y="6326"/>
                    <a:pt x="4897" y="6340"/>
                  </a:cubicBezTo>
                  <a:cubicBezTo>
                    <a:pt x="4982" y="6373"/>
                    <a:pt x="5067" y="6407"/>
                    <a:pt x="5152" y="6439"/>
                  </a:cubicBezTo>
                  <a:cubicBezTo>
                    <a:pt x="5251" y="6476"/>
                    <a:pt x="5344" y="6459"/>
                    <a:pt x="5413" y="6368"/>
                  </a:cubicBezTo>
                  <a:cubicBezTo>
                    <a:pt x="5422" y="6356"/>
                    <a:pt x="5432" y="6346"/>
                    <a:pt x="5443" y="6334"/>
                  </a:cubicBezTo>
                  <a:cubicBezTo>
                    <a:pt x="5400" y="6320"/>
                    <a:pt x="5369" y="6294"/>
                    <a:pt x="5355" y="6250"/>
                  </a:cubicBezTo>
                  <a:cubicBezTo>
                    <a:pt x="5353" y="6242"/>
                    <a:pt x="5348" y="6233"/>
                    <a:pt x="5341" y="6228"/>
                  </a:cubicBezTo>
                  <a:cubicBezTo>
                    <a:pt x="5298" y="6195"/>
                    <a:pt x="5313" y="6116"/>
                    <a:pt x="5353" y="6097"/>
                  </a:cubicBezTo>
                  <a:cubicBezTo>
                    <a:pt x="5369" y="6089"/>
                    <a:pt x="5372" y="6077"/>
                    <a:pt x="5374" y="6062"/>
                  </a:cubicBezTo>
                  <a:cubicBezTo>
                    <a:pt x="5385" y="5985"/>
                    <a:pt x="5418" y="5920"/>
                    <a:pt x="5468" y="5861"/>
                  </a:cubicBezTo>
                  <a:cubicBezTo>
                    <a:pt x="5517" y="5802"/>
                    <a:pt x="5578" y="5760"/>
                    <a:pt x="5650" y="5735"/>
                  </a:cubicBezTo>
                  <a:cubicBezTo>
                    <a:pt x="5669" y="5728"/>
                    <a:pt x="5688" y="5725"/>
                    <a:pt x="5707" y="5720"/>
                  </a:cubicBezTo>
                  <a:cubicBezTo>
                    <a:pt x="5711" y="5718"/>
                    <a:pt x="5718" y="5714"/>
                    <a:pt x="5718" y="5710"/>
                  </a:cubicBezTo>
                  <a:cubicBezTo>
                    <a:pt x="5721" y="5685"/>
                    <a:pt x="5722" y="5660"/>
                    <a:pt x="5723" y="5634"/>
                  </a:cubicBezTo>
                  <a:cubicBezTo>
                    <a:pt x="5699" y="5631"/>
                    <a:pt x="5677" y="5629"/>
                    <a:pt x="5650" y="5626"/>
                  </a:cubicBezTo>
                  <a:cubicBezTo>
                    <a:pt x="5652" y="5594"/>
                    <a:pt x="5654" y="5560"/>
                    <a:pt x="5656" y="5525"/>
                  </a:cubicBezTo>
                  <a:cubicBezTo>
                    <a:pt x="5678" y="5525"/>
                    <a:pt x="5699" y="5525"/>
                    <a:pt x="5722" y="5525"/>
                  </a:cubicBezTo>
                  <a:cubicBezTo>
                    <a:pt x="5722" y="5500"/>
                    <a:pt x="5722" y="5478"/>
                    <a:pt x="5722" y="5451"/>
                  </a:cubicBezTo>
                  <a:cubicBezTo>
                    <a:pt x="5761" y="5453"/>
                    <a:pt x="5798" y="5455"/>
                    <a:pt x="5838" y="5457"/>
                  </a:cubicBezTo>
                  <a:cubicBezTo>
                    <a:pt x="5838" y="5478"/>
                    <a:pt x="5838" y="5500"/>
                    <a:pt x="5838" y="5522"/>
                  </a:cubicBezTo>
                  <a:cubicBezTo>
                    <a:pt x="5863" y="5525"/>
                    <a:pt x="5886" y="5527"/>
                    <a:pt x="5912" y="5530"/>
                  </a:cubicBezTo>
                  <a:cubicBezTo>
                    <a:pt x="5910" y="5563"/>
                    <a:pt x="5908" y="5596"/>
                    <a:pt x="5906" y="5631"/>
                  </a:cubicBezTo>
                  <a:cubicBezTo>
                    <a:pt x="5884" y="5631"/>
                    <a:pt x="5863" y="5631"/>
                    <a:pt x="5840" y="5631"/>
                  </a:cubicBezTo>
                  <a:cubicBezTo>
                    <a:pt x="5838" y="5662"/>
                    <a:pt x="5836" y="5690"/>
                    <a:pt x="5834" y="5713"/>
                  </a:cubicBezTo>
                  <a:cubicBezTo>
                    <a:pt x="5880" y="5725"/>
                    <a:pt x="5923" y="5735"/>
                    <a:pt x="5965" y="5748"/>
                  </a:cubicBezTo>
                  <a:cubicBezTo>
                    <a:pt x="6007" y="5761"/>
                    <a:pt x="6045" y="5782"/>
                    <a:pt x="6075" y="5814"/>
                  </a:cubicBezTo>
                  <a:cubicBezTo>
                    <a:pt x="6098" y="5839"/>
                    <a:pt x="6124" y="5861"/>
                    <a:pt x="6144" y="5887"/>
                  </a:cubicBezTo>
                  <a:cubicBezTo>
                    <a:pt x="6176" y="5930"/>
                    <a:pt x="6197" y="5979"/>
                    <a:pt x="6207" y="6031"/>
                  </a:cubicBezTo>
                  <a:cubicBezTo>
                    <a:pt x="6210" y="6050"/>
                    <a:pt x="6213" y="6069"/>
                    <a:pt x="6212" y="6088"/>
                  </a:cubicBezTo>
                  <a:cubicBezTo>
                    <a:pt x="6211" y="6115"/>
                    <a:pt x="6226" y="6138"/>
                    <a:pt x="6231" y="6163"/>
                  </a:cubicBezTo>
                  <a:cubicBezTo>
                    <a:pt x="6238" y="6198"/>
                    <a:pt x="6223" y="6232"/>
                    <a:pt x="6191" y="6246"/>
                  </a:cubicBezTo>
                  <a:cubicBezTo>
                    <a:pt x="6174" y="6252"/>
                    <a:pt x="6165" y="6261"/>
                    <a:pt x="6164" y="6278"/>
                  </a:cubicBezTo>
                  <a:cubicBezTo>
                    <a:pt x="6162" y="6326"/>
                    <a:pt x="6140" y="6364"/>
                    <a:pt x="6102" y="6394"/>
                  </a:cubicBezTo>
                  <a:cubicBezTo>
                    <a:pt x="6115" y="6417"/>
                    <a:pt x="6128" y="6437"/>
                    <a:pt x="6128" y="6465"/>
                  </a:cubicBezTo>
                  <a:cubicBezTo>
                    <a:pt x="6127" y="6526"/>
                    <a:pt x="6060" y="6577"/>
                    <a:pt x="6003" y="6556"/>
                  </a:cubicBezTo>
                  <a:cubicBezTo>
                    <a:pt x="5981" y="6548"/>
                    <a:pt x="5968" y="6551"/>
                    <a:pt x="5952" y="6568"/>
                  </a:cubicBezTo>
                  <a:cubicBezTo>
                    <a:pt x="5920" y="6602"/>
                    <a:pt x="5886" y="6633"/>
                    <a:pt x="5852" y="6665"/>
                  </a:cubicBezTo>
                  <a:cubicBezTo>
                    <a:pt x="5831" y="6685"/>
                    <a:pt x="5802" y="6688"/>
                    <a:pt x="5776" y="6687"/>
                  </a:cubicBezTo>
                  <a:cubicBezTo>
                    <a:pt x="5750" y="6686"/>
                    <a:pt x="5724" y="6677"/>
                    <a:pt x="5695" y="6671"/>
                  </a:cubicBezTo>
                  <a:cubicBezTo>
                    <a:pt x="5674" y="6705"/>
                    <a:pt x="5643" y="6733"/>
                    <a:pt x="5599" y="6742"/>
                  </a:cubicBezTo>
                  <a:cubicBezTo>
                    <a:pt x="5547" y="6754"/>
                    <a:pt x="5500" y="6742"/>
                    <a:pt x="5463" y="6705"/>
                  </a:cubicBezTo>
                  <a:cubicBezTo>
                    <a:pt x="5441" y="6682"/>
                    <a:pt x="5415" y="6678"/>
                    <a:pt x="5388" y="6672"/>
                  </a:cubicBezTo>
                  <a:cubicBezTo>
                    <a:pt x="5324" y="6658"/>
                    <a:pt x="5260" y="6644"/>
                    <a:pt x="5195" y="6630"/>
                  </a:cubicBezTo>
                  <a:cubicBezTo>
                    <a:pt x="5111" y="6612"/>
                    <a:pt x="5027" y="6594"/>
                    <a:pt x="4943" y="6576"/>
                  </a:cubicBezTo>
                  <a:cubicBezTo>
                    <a:pt x="4905" y="6568"/>
                    <a:pt x="4867" y="6559"/>
                    <a:pt x="4828" y="6551"/>
                  </a:cubicBezTo>
                  <a:cubicBezTo>
                    <a:pt x="4813" y="6548"/>
                    <a:pt x="4797" y="6545"/>
                    <a:pt x="4782" y="6544"/>
                  </a:cubicBezTo>
                  <a:cubicBezTo>
                    <a:pt x="4736" y="6541"/>
                    <a:pt x="4690" y="6539"/>
                    <a:pt x="4643" y="6536"/>
                  </a:cubicBezTo>
                  <a:cubicBezTo>
                    <a:pt x="4571" y="6531"/>
                    <a:pt x="4499" y="6526"/>
                    <a:pt x="4427" y="6520"/>
                  </a:cubicBezTo>
                  <a:cubicBezTo>
                    <a:pt x="4404" y="6518"/>
                    <a:pt x="4381" y="6516"/>
                    <a:pt x="4358" y="6512"/>
                  </a:cubicBezTo>
                  <a:cubicBezTo>
                    <a:pt x="4310" y="6504"/>
                    <a:pt x="4272" y="6457"/>
                    <a:pt x="4280" y="6409"/>
                  </a:cubicBezTo>
                  <a:cubicBezTo>
                    <a:pt x="4284" y="6388"/>
                    <a:pt x="4298" y="6368"/>
                    <a:pt x="4311" y="6351"/>
                  </a:cubicBezTo>
                  <a:cubicBezTo>
                    <a:pt x="4336" y="6319"/>
                    <a:pt x="4364" y="6289"/>
                    <a:pt x="4391" y="6258"/>
                  </a:cubicBezTo>
                  <a:cubicBezTo>
                    <a:pt x="4395" y="6253"/>
                    <a:pt x="4398" y="6247"/>
                    <a:pt x="4402" y="6241"/>
                  </a:cubicBezTo>
                  <a:cubicBezTo>
                    <a:pt x="4286" y="6265"/>
                    <a:pt x="4171" y="6170"/>
                    <a:pt x="4177" y="6083"/>
                  </a:cubicBezTo>
                  <a:cubicBezTo>
                    <a:pt x="4194" y="6092"/>
                    <a:pt x="4211" y="6103"/>
                    <a:pt x="4230" y="6108"/>
                  </a:cubicBezTo>
                  <a:cubicBezTo>
                    <a:pt x="4269" y="6120"/>
                    <a:pt x="4329" y="6092"/>
                    <a:pt x="4339" y="6046"/>
                  </a:cubicBezTo>
                  <a:cubicBezTo>
                    <a:pt x="4344" y="6023"/>
                    <a:pt x="4354" y="5999"/>
                    <a:pt x="4354" y="5976"/>
                  </a:cubicBezTo>
                  <a:cubicBezTo>
                    <a:pt x="4354" y="5932"/>
                    <a:pt x="4342" y="5891"/>
                    <a:pt x="4307" y="5860"/>
                  </a:cubicBezTo>
                  <a:cubicBezTo>
                    <a:pt x="4272" y="5827"/>
                    <a:pt x="4229" y="5823"/>
                    <a:pt x="4185" y="5815"/>
                  </a:cubicBezTo>
                  <a:cubicBezTo>
                    <a:pt x="4144" y="5808"/>
                    <a:pt x="4107" y="5816"/>
                    <a:pt x="4072" y="5832"/>
                  </a:cubicBezTo>
                  <a:cubicBezTo>
                    <a:pt x="4047" y="5844"/>
                    <a:pt x="4025" y="5862"/>
                    <a:pt x="4003" y="5879"/>
                  </a:cubicBezTo>
                  <a:cubicBezTo>
                    <a:pt x="3961" y="5911"/>
                    <a:pt x="3934" y="5955"/>
                    <a:pt x="3910" y="6001"/>
                  </a:cubicBezTo>
                  <a:cubicBezTo>
                    <a:pt x="3895" y="6030"/>
                    <a:pt x="3895" y="6064"/>
                    <a:pt x="3902" y="6097"/>
                  </a:cubicBezTo>
                  <a:cubicBezTo>
                    <a:pt x="3912" y="6150"/>
                    <a:pt x="3950" y="6181"/>
                    <a:pt x="3990" y="6212"/>
                  </a:cubicBezTo>
                  <a:cubicBezTo>
                    <a:pt x="4031" y="6243"/>
                    <a:pt x="4074" y="6272"/>
                    <a:pt x="4110" y="6307"/>
                  </a:cubicBezTo>
                  <a:cubicBezTo>
                    <a:pt x="4144" y="6341"/>
                    <a:pt x="4153" y="6387"/>
                    <a:pt x="4138" y="6433"/>
                  </a:cubicBezTo>
                  <a:cubicBezTo>
                    <a:pt x="4130" y="6455"/>
                    <a:pt x="4117" y="6476"/>
                    <a:pt x="4102" y="6496"/>
                  </a:cubicBezTo>
                  <a:cubicBezTo>
                    <a:pt x="4080" y="6454"/>
                    <a:pt x="4056" y="6414"/>
                    <a:pt x="4016" y="6388"/>
                  </a:cubicBezTo>
                  <a:cubicBezTo>
                    <a:pt x="3975" y="6361"/>
                    <a:pt x="3932" y="6346"/>
                    <a:pt x="3886" y="6340"/>
                  </a:cubicBezTo>
                  <a:cubicBezTo>
                    <a:pt x="3884" y="6341"/>
                    <a:pt x="3883" y="6343"/>
                    <a:pt x="3881" y="6344"/>
                  </a:cubicBezTo>
                  <a:cubicBezTo>
                    <a:pt x="3905" y="6372"/>
                    <a:pt x="3926" y="6401"/>
                    <a:pt x="3952" y="6426"/>
                  </a:cubicBezTo>
                  <a:cubicBezTo>
                    <a:pt x="3980" y="6452"/>
                    <a:pt x="4011" y="6477"/>
                    <a:pt x="4043" y="6497"/>
                  </a:cubicBezTo>
                  <a:cubicBezTo>
                    <a:pt x="4076" y="6516"/>
                    <a:pt x="4111" y="6534"/>
                    <a:pt x="4147" y="6543"/>
                  </a:cubicBezTo>
                  <a:cubicBezTo>
                    <a:pt x="4196" y="6555"/>
                    <a:pt x="4240" y="6578"/>
                    <a:pt x="4283" y="6602"/>
                  </a:cubicBezTo>
                  <a:cubicBezTo>
                    <a:pt x="4344" y="6637"/>
                    <a:pt x="4400" y="6678"/>
                    <a:pt x="4449" y="6728"/>
                  </a:cubicBezTo>
                  <a:cubicBezTo>
                    <a:pt x="4472" y="6751"/>
                    <a:pt x="4493" y="6774"/>
                    <a:pt x="4517" y="6795"/>
                  </a:cubicBezTo>
                  <a:cubicBezTo>
                    <a:pt x="4555" y="6830"/>
                    <a:pt x="4638" y="6802"/>
                    <a:pt x="4647" y="6751"/>
                  </a:cubicBezTo>
                  <a:cubicBezTo>
                    <a:pt x="4654" y="6716"/>
                    <a:pt x="4638" y="6685"/>
                    <a:pt x="4604" y="6663"/>
                  </a:cubicBezTo>
                  <a:cubicBezTo>
                    <a:pt x="4656" y="6636"/>
                    <a:pt x="4749" y="6667"/>
                    <a:pt x="4783" y="6720"/>
                  </a:cubicBezTo>
                  <a:cubicBezTo>
                    <a:pt x="4830" y="6793"/>
                    <a:pt x="4816" y="6912"/>
                    <a:pt x="4709" y="6959"/>
                  </a:cubicBezTo>
                  <a:cubicBezTo>
                    <a:pt x="4735" y="6971"/>
                    <a:pt x="4764" y="6982"/>
                    <a:pt x="4789" y="6998"/>
                  </a:cubicBezTo>
                  <a:cubicBezTo>
                    <a:pt x="4835" y="7028"/>
                    <a:pt x="4863" y="7070"/>
                    <a:pt x="4872" y="7126"/>
                  </a:cubicBezTo>
                  <a:cubicBezTo>
                    <a:pt x="4880" y="7181"/>
                    <a:pt x="4865" y="7228"/>
                    <a:pt x="4836" y="7274"/>
                  </a:cubicBezTo>
                  <a:cubicBezTo>
                    <a:pt x="4807" y="7321"/>
                    <a:pt x="4817" y="7376"/>
                    <a:pt x="4875" y="7416"/>
                  </a:cubicBezTo>
                  <a:cubicBezTo>
                    <a:pt x="4876" y="7417"/>
                    <a:pt x="4877" y="7418"/>
                    <a:pt x="4882" y="7422"/>
                  </a:cubicBezTo>
                  <a:cubicBezTo>
                    <a:pt x="4828" y="7439"/>
                    <a:pt x="4781" y="7432"/>
                    <a:pt x="4736" y="7406"/>
                  </a:cubicBezTo>
                  <a:cubicBezTo>
                    <a:pt x="4690" y="7380"/>
                    <a:pt x="4665" y="7338"/>
                    <a:pt x="4646" y="7290"/>
                  </a:cubicBezTo>
                  <a:cubicBezTo>
                    <a:pt x="4621" y="7394"/>
                    <a:pt x="4559" y="7465"/>
                    <a:pt x="4459" y="7500"/>
                  </a:cubicBezTo>
                  <a:cubicBezTo>
                    <a:pt x="4358" y="7536"/>
                    <a:pt x="4268" y="7511"/>
                    <a:pt x="4188" y="7442"/>
                  </a:cubicBezTo>
                  <a:cubicBezTo>
                    <a:pt x="4148" y="7546"/>
                    <a:pt x="4079" y="7618"/>
                    <a:pt x="3975" y="7652"/>
                  </a:cubicBezTo>
                  <a:cubicBezTo>
                    <a:pt x="3870" y="7686"/>
                    <a:pt x="3774" y="7663"/>
                    <a:pt x="3688" y="7598"/>
                  </a:cubicBezTo>
                  <a:cubicBezTo>
                    <a:pt x="3657" y="7666"/>
                    <a:pt x="3634" y="7734"/>
                    <a:pt x="3578" y="7782"/>
                  </a:cubicBezTo>
                  <a:cubicBezTo>
                    <a:pt x="3552" y="7805"/>
                    <a:pt x="3523" y="7823"/>
                    <a:pt x="3494" y="7842"/>
                  </a:cubicBezTo>
                  <a:cubicBezTo>
                    <a:pt x="3489" y="7845"/>
                    <a:pt x="3477" y="7843"/>
                    <a:pt x="3470" y="7839"/>
                  </a:cubicBezTo>
                  <a:cubicBezTo>
                    <a:pt x="3430" y="7814"/>
                    <a:pt x="3396" y="7782"/>
                    <a:pt x="3367" y="7744"/>
                  </a:cubicBezTo>
                  <a:cubicBezTo>
                    <a:pt x="3332" y="7699"/>
                    <a:pt x="3312" y="7647"/>
                    <a:pt x="3297" y="7591"/>
                  </a:cubicBezTo>
                  <a:cubicBezTo>
                    <a:pt x="3275" y="7602"/>
                    <a:pt x="3255" y="7614"/>
                    <a:pt x="3234" y="7623"/>
                  </a:cubicBezTo>
                  <a:cubicBezTo>
                    <a:pt x="3161" y="7654"/>
                    <a:pt x="3086" y="7656"/>
                    <a:pt x="3010" y="7632"/>
                  </a:cubicBezTo>
                  <a:cubicBezTo>
                    <a:pt x="2917" y="7603"/>
                    <a:pt x="2854" y="7542"/>
                    <a:pt x="2818" y="7453"/>
                  </a:cubicBezTo>
                  <a:cubicBezTo>
                    <a:pt x="2801" y="7412"/>
                    <a:pt x="2800" y="7411"/>
                    <a:pt x="2765" y="7437"/>
                  </a:cubicBezTo>
                  <a:cubicBezTo>
                    <a:pt x="2731" y="7463"/>
                    <a:pt x="2690" y="7470"/>
                    <a:pt x="2650" y="7476"/>
                  </a:cubicBezTo>
                  <a:cubicBezTo>
                    <a:pt x="2569" y="7487"/>
                    <a:pt x="2499" y="7457"/>
                    <a:pt x="2439" y="7408"/>
                  </a:cubicBezTo>
                  <a:cubicBezTo>
                    <a:pt x="2395" y="7372"/>
                    <a:pt x="2368" y="7322"/>
                    <a:pt x="2355" y="7265"/>
                  </a:cubicBezTo>
                  <a:cubicBezTo>
                    <a:pt x="2353" y="7258"/>
                    <a:pt x="2352" y="7250"/>
                    <a:pt x="2348" y="7236"/>
                  </a:cubicBezTo>
                  <a:cubicBezTo>
                    <a:pt x="2330" y="7311"/>
                    <a:pt x="2279" y="7348"/>
                    <a:pt x="2217" y="7370"/>
                  </a:cubicBezTo>
                  <a:cubicBezTo>
                    <a:pt x="2183" y="7382"/>
                    <a:pt x="2144" y="7379"/>
                    <a:pt x="2109" y="7362"/>
                  </a:cubicBezTo>
                  <a:cubicBezTo>
                    <a:pt x="2121" y="7353"/>
                    <a:pt x="2133" y="7345"/>
                    <a:pt x="2143" y="7334"/>
                  </a:cubicBezTo>
                  <a:cubicBezTo>
                    <a:pt x="2174" y="7301"/>
                    <a:pt x="2182" y="7265"/>
                    <a:pt x="2163" y="7223"/>
                  </a:cubicBezTo>
                  <a:cubicBezTo>
                    <a:pt x="2153" y="7201"/>
                    <a:pt x="2144" y="7177"/>
                    <a:pt x="2134" y="7155"/>
                  </a:cubicBezTo>
                  <a:cubicBezTo>
                    <a:pt x="2111" y="7098"/>
                    <a:pt x="2144" y="6998"/>
                    <a:pt x="2184" y="6965"/>
                  </a:cubicBezTo>
                  <a:cubicBezTo>
                    <a:pt x="2217" y="6938"/>
                    <a:pt x="2255" y="6918"/>
                    <a:pt x="2303" y="6910"/>
                  </a:cubicBezTo>
                  <a:cubicBezTo>
                    <a:pt x="2257" y="6885"/>
                    <a:pt x="2224" y="6852"/>
                    <a:pt x="2212" y="6806"/>
                  </a:cubicBezTo>
                  <a:cubicBezTo>
                    <a:pt x="2199" y="6759"/>
                    <a:pt x="2207" y="6712"/>
                    <a:pt x="2235" y="6672"/>
                  </a:cubicBezTo>
                  <a:cubicBezTo>
                    <a:pt x="2276" y="6615"/>
                    <a:pt x="2338" y="6587"/>
                    <a:pt x="2424" y="6615"/>
                  </a:cubicBezTo>
                  <a:cubicBezTo>
                    <a:pt x="2412" y="6621"/>
                    <a:pt x="2401" y="6624"/>
                    <a:pt x="2394" y="6631"/>
                  </a:cubicBezTo>
                  <a:cubicBezTo>
                    <a:pt x="2361" y="6665"/>
                    <a:pt x="2357" y="6722"/>
                    <a:pt x="2404" y="6751"/>
                  </a:cubicBezTo>
                  <a:cubicBezTo>
                    <a:pt x="2455" y="6782"/>
                    <a:pt x="2487" y="6766"/>
                    <a:pt x="2525" y="6732"/>
                  </a:cubicBezTo>
                  <a:cubicBezTo>
                    <a:pt x="2566" y="6695"/>
                    <a:pt x="2603" y="6654"/>
                    <a:pt x="2648" y="6624"/>
                  </a:cubicBezTo>
                  <a:cubicBezTo>
                    <a:pt x="2697" y="6590"/>
                    <a:pt x="2751" y="6565"/>
                    <a:pt x="2805" y="6541"/>
                  </a:cubicBezTo>
                  <a:cubicBezTo>
                    <a:pt x="2840" y="6525"/>
                    <a:pt x="2879" y="6520"/>
                    <a:pt x="2915" y="6506"/>
                  </a:cubicBezTo>
                  <a:cubicBezTo>
                    <a:pt x="2963" y="6487"/>
                    <a:pt x="3008" y="6462"/>
                    <a:pt x="3050" y="6432"/>
                  </a:cubicBezTo>
                  <a:cubicBezTo>
                    <a:pt x="3091" y="6403"/>
                    <a:pt x="3119" y="6364"/>
                    <a:pt x="3155" y="6326"/>
                  </a:cubicBezTo>
                  <a:cubicBezTo>
                    <a:pt x="3106" y="6328"/>
                    <a:pt x="3064" y="6337"/>
                    <a:pt x="3026" y="6359"/>
                  </a:cubicBezTo>
                  <a:cubicBezTo>
                    <a:pt x="2989" y="6382"/>
                    <a:pt x="2959" y="6414"/>
                    <a:pt x="2939" y="6455"/>
                  </a:cubicBezTo>
                  <a:cubicBezTo>
                    <a:pt x="2931" y="6472"/>
                    <a:pt x="2926" y="6472"/>
                    <a:pt x="2915" y="6456"/>
                  </a:cubicBezTo>
                  <a:cubicBezTo>
                    <a:pt x="2879" y="6403"/>
                    <a:pt x="2878" y="6349"/>
                    <a:pt x="2912" y="6298"/>
                  </a:cubicBezTo>
                  <a:cubicBezTo>
                    <a:pt x="2924" y="6279"/>
                    <a:pt x="2948" y="6266"/>
                    <a:pt x="2967" y="6252"/>
                  </a:cubicBezTo>
                  <a:cubicBezTo>
                    <a:pt x="3011" y="6220"/>
                    <a:pt x="3056" y="6191"/>
                    <a:pt x="3099" y="6157"/>
                  </a:cubicBezTo>
                  <a:cubicBezTo>
                    <a:pt x="3128" y="6134"/>
                    <a:pt x="3142" y="6101"/>
                    <a:pt x="3147" y="6062"/>
                  </a:cubicBezTo>
                  <a:cubicBezTo>
                    <a:pt x="3157" y="5992"/>
                    <a:pt x="3121" y="5941"/>
                    <a:pt x="3080" y="5892"/>
                  </a:cubicBezTo>
                  <a:cubicBezTo>
                    <a:pt x="3058" y="5866"/>
                    <a:pt x="3033" y="5841"/>
                    <a:pt x="3005" y="5822"/>
                  </a:cubicBezTo>
                  <a:cubicBezTo>
                    <a:pt x="2981" y="5806"/>
                    <a:pt x="2950" y="5796"/>
                    <a:pt x="2921" y="5789"/>
                  </a:cubicBezTo>
                  <a:cubicBezTo>
                    <a:pt x="2888" y="5781"/>
                    <a:pt x="2854" y="5782"/>
                    <a:pt x="2820" y="5792"/>
                  </a:cubicBezTo>
                  <a:cubicBezTo>
                    <a:pt x="2775" y="5804"/>
                    <a:pt x="2740" y="5827"/>
                    <a:pt x="2716" y="5868"/>
                  </a:cubicBezTo>
                  <a:cubicBezTo>
                    <a:pt x="2696" y="5903"/>
                    <a:pt x="2696" y="5939"/>
                    <a:pt x="2702" y="5977"/>
                  </a:cubicBezTo>
                  <a:cubicBezTo>
                    <a:pt x="2706" y="6000"/>
                    <a:pt x="2707" y="6021"/>
                    <a:pt x="2722" y="6043"/>
                  </a:cubicBezTo>
                  <a:cubicBezTo>
                    <a:pt x="2748" y="6082"/>
                    <a:pt x="2822" y="6089"/>
                    <a:pt x="2853" y="6061"/>
                  </a:cubicBezTo>
                  <a:cubicBezTo>
                    <a:pt x="2858" y="6056"/>
                    <a:pt x="2864" y="6052"/>
                    <a:pt x="2870" y="6047"/>
                  </a:cubicBezTo>
                  <a:cubicBezTo>
                    <a:pt x="2872" y="6143"/>
                    <a:pt x="2745" y="6236"/>
                    <a:pt x="2637" y="6203"/>
                  </a:cubicBezTo>
                  <a:cubicBezTo>
                    <a:pt x="2651" y="6222"/>
                    <a:pt x="2663" y="6238"/>
                    <a:pt x="2675" y="6254"/>
                  </a:cubicBezTo>
                  <a:cubicBezTo>
                    <a:pt x="2696" y="6283"/>
                    <a:pt x="2721" y="6311"/>
                    <a:pt x="2739" y="6343"/>
                  </a:cubicBezTo>
                  <a:cubicBezTo>
                    <a:pt x="2774" y="6404"/>
                    <a:pt x="2722" y="6472"/>
                    <a:pt x="2665" y="6476"/>
                  </a:cubicBezTo>
                  <a:cubicBezTo>
                    <a:pt x="2610" y="6480"/>
                    <a:pt x="2554" y="6482"/>
                    <a:pt x="2499" y="6484"/>
                  </a:cubicBezTo>
                  <a:cubicBezTo>
                    <a:pt x="2428" y="6486"/>
                    <a:pt x="2358" y="6488"/>
                    <a:pt x="2287" y="6488"/>
                  </a:cubicBezTo>
                  <a:cubicBezTo>
                    <a:pt x="2209" y="6488"/>
                    <a:pt x="2134" y="6510"/>
                    <a:pt x="2058" y="6529"/>
                  </a:cubicBezTo>
                  <a:cubicBezTo>
                    <a:pt x="1956" y="6553"/>
                    <a:pt x="1854" y="6579"/>
                    <a:pt x="1751" y="6604"/>
                  </a:cubicBezTo>
                  <a:cubicBezTo>
                    <a:pt x="1739" y="6607"/>
                    <a:pt x="1734" y="6612"/>
                    <a:pt x="1731" y="6624"/>
                  </a:cubicBezTo>
                  <a:cubicBezTo>
                    <a:pt x="1717" y="6681"/>
                    <a:pt x="1661" y="6728"/>
                    <a:pt x="1602" y="6732"/>
                  </a:cubicBezTo>
                  <a:cubicBezTo>
                    <a:pt x="1581" y="6733"/>
                    <a:pt x="1560" y="6732"/>
                    <a:pt x="1538" y="6732"/>
                  </a:cubicBezTo>
                  <a:close/>
                  <a:moveTo>
                    <a:pt x="1434" y="4907"/>
                  </a:moveTo>
                  <a:cubicBezTo>
                    <a:pt x="1407" y="4944"/>
                    <a:pt x="1374" y="4976"/>
                    <a:pt x="1332" y="4995"/>
                  </a:cubicBezTo>
                  <a:cubicBezTo>
                    <a:pt x="1273" y="5023"/>
                    <a:pt x="1212" y="5022"/>
                    <a:pt x="1150" y="5004"/>
                  </a:cubicBezTo>
                  <a:cubicBezTo>
                    <a:pt x="1146" y="5003"/>
                    <a:pt x="1142" y="5001"/>
                    <a:pt x="1140" y="4998"/>
                  </a:cubicBezTo>
                  <a:cubicBezTo>
                    <a:pt x="1102" y="4944"/>
                    <a:pt x="1078" y="4885"/>
                    <a:pt x="1083" y="4817"/>
                  </a:cubicBezTo>
                  <a:cubicBezTo>
                    <a:pt x="1084" y="4807"/>
                    <a:pt x="1086" y="4797"/>
                    <a:pt x="1089" y="4781"/>
                  </a:cubicBezTo>
                  <a:cubicBezTo>
                    <a:pt x="1078" y="4789"/>
                    <a:pt x="1073" y="4794"/>
                    <a:pt x="1067" y="4798"/>
                  </a:cubicBezTo>
                  <a:cubicBezTo>
                    <a:pt x="1039" y="4815"/>
                    <a:pt x="1013" y="4836"/>
                    <a:pt x="983" y="4847"/>
                  </a:cubicBezTo>
                  <a:cubicBezTo>
                    <a:pt x="924" y="4867"/>
                    <a:pt x="863" y="4863"/>
                    <a:pt x="803" y="4842"/>
                  </a:cubicBezTo>
                  <a:cubicBezTo>
                    <a:pt x="797" y="4839"/>
                    <a:pt x="789" y="4832"/>
                    <a:pt x="788" y="4825"/>
                  </a:cubicBezTo>
                  <a:cubicBezTo>
                    <a:pt x="783" y="4795"/>
                    <a:pt x="775" y="4764"/>
                    <a:pt x="776" y="4734"/>
                  </a:cubicBezTo>
                  <a:cubicBezTo>
                    <a:pt x="777" y="4675"/>
                    <a:pt x="794" y="4619"/>
                    <a:pt x="830" y="4571"/>
                  </a:cubicBezTo>
                  <a:cubicBezTo>
                    <a:pt x="838" y="4560"/>
                    <a:pt x="847" y="4550"/>
                    <a:pt x="852" y="4543"/>
                  </a:cubicBezTo>
                  <a:cubicBezTo>
                    <a:pt x="809" y="4551"/>
                    <a:pt x="764" y="4563"/>
                    <a:pt x="718" y="4567"/>
                  </a:cubicBezTo>
                  <a:cubicBezTo>
                    <a:pt x="673" y="4571"/>
                    <a:pt x="626" y="4568"/>
                    <a:pt x="581" y="4568"/>
                  </a:cubicBezTo>
                  <a:cubicBezTo>
                    <a:pt x="581" y="4574"/>
                    <a:pt x="581" y="4582"/>
                    <a:pt x="580" y="4589"/>
                  </a:cubicBezTo>
                  <a:cubicBezTo>
                    <a:pt x="579" y="4597"/>
                    <a:pt x="577" y="4604"/>
                    <a:pt x="575" y="4612"/>
                  </a:cubicBezTo>
                  <a:cubicBezTo>
                    <a:pt x="583" y="4616"/>
                    <a:pt x="590" y="4620"/>
                    <a:pt x="597" y="4624"/>
                  </a:cubicBezTo>
                  <a:cubicBezTo>
                    <a:pt x="616" y="4634"/>
                    <a:pt x="633" y="4663"/>
                    <a:pt x="621" y="4680"/>
                  </a:cubicBezTo>
                  <a:cubicBezTo>
                    <a:pt x="598" y="4713"/>
                    <a:pt x="621" y="4737"/>
                    <a:pt x="631" y="4764"/>
                  </a:cubicBezTo>
                  <a:cubicBezTo>
                    <a:pt x="633" y="4769"/>
                    <a:pt x="636" y="4773"/>
                    <a:pt x="638" y="4778"/>
                  </a:cubicBezTo>
                  <a:cubicBezTo>
                    <a:pt x="678" y="4868"/>
                    <a:pt x="717" y="4957"/>
                    <a:pt x="756" y="5047"/>
                  </a:cubicBezTo>
                  <a:cubicBezTo>
                    <a:pt x="785" y="5111"/>
                    <a:pt x="814" y="5174"/>
                    <a:pt x="842" y="5238"/>
                  </a:cubicBezTo>
                  <a:cubicBezTo>
                    <a:pt x="887" y="5340"/>
                    <a:pt x="932" y="5442"/>
                    <a:pt x="977" y="5544"/>
                  </a:cubicBezTo>
                  <a:cubicBezTo>
                    <a:pt x="1001" y="5598"/>
                    <a:pt x="1024" y="5652"/>
                    <a:pt x="1048" y="5705"/>
                  </a:cubicBezTo>
                  <a:cubicBezTo>
                    <a:pt x="1063" y="5740"/>
                    <a:pt x="1079" y="5774"/>
                    <a:pt x="1095" y="5808"/>
                  </a:cubicBezTo>
                  <a:cubicBezTo>
                    <a:pt x="1120" y="5800"/>
                    <a:pt x="1138" y="5808"/>
                    <a:pt x="1153" y="5824"/>
                  </a:cubicBezTo>
                  <a:cubicBezTo>
                    <a:pt x="1167" y="5839"/>
                    <a:pt x="1169" y="5856"/>
                    <a:pt x="1163" y="5875"/>
                  </a:cubicBezTo>
                  <a:cubicBezTo>
                    <a:pt x="1161" y="5883"/>
                    <a:pt x="1161" y="5893"/>
                    <a:pt x="1164" y="5901"/>
                  </a:cubicBezTo>
                  <a:cubicBezTo>
                    <a:pt x="1183" y="5951"/>
                    <a:pt x="1204" y="6001"/>
                    <a:pt x="1225" y="6051"/>
                  </a:cubicBezTo>
                  <a:cubicBezTo>
                    <a:pt x="1227" y="6056"/>
                    <a:pt x="1236" y="6060"/>
                    <a:pt x="1241" y="6060"/>
                  </a:cubicBezTo>
                  <a:cubicBezTo>
                    <a:pt x="1263" y="6060"/>
                    <a:pt x="1291" y="6075"/>
                    <a:pt x="1296" y="6099"/>
                  </a:cubicBezTo>
                  <a:cubicBezTo>
                    <a:pt x="1301" y="6128"/>
                    <a:pt x="1289" y="6143"/>
                    <a:pt x="1267" y="6155"/>
                  </a:cubicBezTo>
                  <a:cubicBezTo>
                    <a:pt x="1279" y="6184"/>
                    <a:pt x="1290" y="6212"/>
                    <a:pt x="1301" y="6242"/>
                  </a:cubicBezTo>
                  <a:cubicBezTo>
                    <a:pt x="1314" y="6232"/>
                    <a:pt x="1324" y="6223"/>
                    <a:pt x="1334" y="6215"/>
                  </a:cubicBezTo>
                  <a:cubicBezTo>
                    <a:pt x="1359" y="6196"/>
                    <a:pt x="1388" y="6182"/>
                    <a:pt x="1419" y="6185"/>
                  </a:cubicBezTo>
                  <a:cubicBezTo>
                    <a:pt x="1471" y="6192"/>
                    <a:pt x="1510" y="6220"/>
                    <a:pt x="1537" y="6267"/>
                  </a:cubicBezTo>
                  <a:cubicBezTo>
                    <a:pt x="1559" y="6306"/>
                    <a:pt x="1585" y="6342"/>
                    <a:pt x="1608" y="6380"/>
                  </a:cubicBezTo>
                  <a:cubicBezTo>
                    <a:pt x="1616" y="6394"/>
                    <a:pt x="1626" y="6393"/>
                    <a:pt x="1638" y="6392"/>
                  </a:cubicBezTo>
                  <a:cubicBezTo>
                    <a:pt x="1660" y="6390"/>
                    <a:pt x="1682" y="6386"/>
                    <a:pt x="1704" y="6384"/>
                  </a:cubicBezTo>
                  <a:cubicBezTo>
                    <a:pt x="1747" y="6381"/>
                    <a:pt x="1791" y="6379"/>
                    <a:pt x="1834" y="6376"/>
                  </a:cubicBezTo>
                  <a:cubicBezTo>
                    <a:pt x="1850" y="6375"/>
                    <a:pt x="1866" y="6373"/>
                    <a:pt x="1881" y="6368"/>
                  </a:cubicBezTo>
                  <a:cubicBezTo>
                    <a:pt x="1984" y="6334"/>
                    <a:pt x="2088" y="6300"/>
                    <a:pt x="2190" y="6264"/>
                  </a:cubicBezTo>
                  <a:cubicBezTo>
                    <a:pt x="2244" y="6245"/>
                    <a:pt x="2269" y="6199"/>
                    <a:pt x="2282" y="6145"/>
                  </a:cubicBezTo>
                  <a:cubicBezTo>
                    <a:pt x="2242" y="6193"/>
                    <a:pt x="2191" y="6220"/>
                    <a:pt x="2134" y="6227"/>
                  </a:cubicBezTo>
                  <a:cubicBezTo>
                    <a:pt x="2148" y="6208"/>
                    <a:pt x="2164" y="6188"/>
                    <a:pt x="2177" y="6167"/>
                  </a:cubicBezTo>
                  <a:cubicBezTo>
                    <a:pt x="2191" y="6143"/>
                    <a:pt x="2192" y="6117"/>
                    <a:pt x="2184" y="6088"/>
                  </a:cubicBezTo>
                  <a:cubicBezTo>
                    <a:pt x="2161" y="6160"/>
                    <a:pt x="2108" y="6181"/>
                    <a:pt x="2041" y="6184"/>
                  </a:cubicBezTo>
                  <a:cubicBezTo>
                    <a:pt x="2055" y="6158"/>
                    <a:pt x="2068" y="6133"/>
                    <a:pt x="2081" y="6108"/>
                  </a:cubicBezTo>
                  <a:cubicBezTo>
                    <a:pt x="2095" y="6081"/>
                    <a:pt x="2091" y="6053"/>
                    <a:pt x="2090" y="6023"/>
                  </a:cubicBezTo>
                  <a:cubicBezTo>
                    <a:pt x="2077" y="6035"/>
                    <a:pt x="2066" y="6044"/>
                    <a:pt x="2055" y="6054"/>
                  </a:cubicBezTo>
                  <a:cubicBezTo>
                    <a:pt x="2013" y="6095"/>
                    <a:pt x="1962" y="6115"/>
                    <a:pt x="1904" y="6112"/>
                  </a:cubicBezTo>
                  <a:cubicBezTo>
                    <a:pt x="1856" y="6109"/>
                    <a:pt x="1814" y="6093"/>
                    <a:pt x="1788" y="6050"/>
                  </a:cubicBezTo>
                  <a:cubicBezTo>
                    <a:pt x="1776" y="6030"/>
                    <a:pt x="1767" y="6006"/>
                    <a:pt x="1757" y="5984"/>
                  </a:cubicBezTo>
                  <a:cubicBezTo>
                    <a:pt x="1764" y="5983"/>
                    <a:pt x="1768" y="5984"/>
                    <a:pt x="1772" y="5987"/>
                  </a:cubicBezTo>
                  <a:cubicBezTo>
                    <a:pt x="1809" y="6018"/>
                    <a:pt x="1866" y="6023"/>
                    <a:pt x="1908" y="5987"/>
                  </a:cubicBezTo>
                  <a:cubicBezTo>
                    <a:pt x="1924" y="5973"/>
                    <a:pt x="1942" y="5953"/>
                    <a:pt x="1945" y="5934"/>
                  </a:cubicBezTo>
                  <a:cubicBezTo>
                    <a:pt x="1954" y="5879"/>
                    <a:pt x="1957" y="5824"/>
                    <a:pt x="1958" y="5768"/>
                  </a:cubicBezTo>
                  <a:cubicBezTo>
                    <a:pt x="1960" y="5726"/>
                    <a:pt x="1954" y="5683"/>
                    <a:pt x="1956" y="5641"/>
                  </a:cubicBezTo>
                  <a:cubicBezTo>
                    <a:pt x="1958" y="5562"/>
                    <a:pt x="1976" y="5487"/>
                    <a:pt x="2026" y="5422"/>
                  </a:cubicBezTo>
                  <a:cubicBezTo>
                    <a:pt x="2058" y="5380"/>
                    <a:pt x="2095" y="5349"/>
                    <a:pt x="2139" y="5322"/>
                  </a:cubicBezTo>
                  <a:cubicBezTo>
                    <a:pt x="2178" y="5299"/>
                    <a:pt x="2221" y="5284"/>
                    <a:pt x="2270" y="5279"/>
                  </a:cubicBezTo>
                  <a:cubicBezTo>
                    <a:pt x="2247" y="5260"/>
                    <a:pt x="2236" y="5240"/>
                    <a:pt x="2245" y="5212"/>
                  </a:cubicBezTo>
                  <a:cubicBezTo>
                    <a:pt x="2304" y="5232"/>
                    <a:pt x="2364" y="5241"/>
                    <a:pt x="2425" y="5217"/>
                  </a:cubicBezTo>
                  <a:cubicBezTo>
                    <a:pt x="2485" y="5193"/>
                    <a:pt x="2526" y="5151"/>
                    <a:pt x="2553" y="5086"/>
                  </a:cubicBezTo>
                  <a:cubicBezTo>
                    <a:pt x="2507" y="5116"/>
                    <a:pt x="2462" y="5123"/>
                    <a:pt x="2415" y="5111"/>
                  </a:cubicBezTo>
                  <a:cubicBezTo>
                    <a:pt x="2439" y="5068"/>
                    <a:pt x="2464" y="5026"/>
                    <a:pt x="2486" y="4982"/>
                  </a:cubicBezTo>
                  <a:cubicBezTo>
                    <a:pt x="2523" y="4906"/>
                    <a:pt x="2541" y="4824"/>
                    <a:pt x="2543" y="4740"/>
                  </a:cubicBezTo>
                  <a:cubicBezTo>
                    <a:pt x="2543" y="4705"/>
                    <a:pt x="2541" y="4671"/>
                    <a:pt x="2539" y="4636"/>
                  </a:cubicBezTo>
                  <a:cubicBezTo>
                    <a:pt x="2538" y="4629"/>
                    <a:pt x="2534" y="4619"/>
                    <a:pt x="2528" y="4616"/>
                  </a:cubicBezTo>
                  <a:cubicBezTo>
                    <a:pt x="2501" y="4598"/>
                    <a:pt x="2474" y="4582"/>
                    <a:pt x="2447" y="4566"/>
                  </a:cubicBezTo>
                  <a:cubicBezTo>
                    <a:pt x="2384" y="4650"/>
                    <a:pt x="2305" y="4671"/>
                    <a:pt x="2209" y="4616"/>
                  </a:cubicBezTo>
                  <a:cubicBezTo>
                    <a:pt x="2207" y="4641"/>
                    <a:pt x="2204" y="4663"/>
                    <a:pt x="2203" y="4685"/>
                  </a:cubicBezTo>
                  <a:cubicBezTo>
                    <a:pt x="2201" y="4756"/>
                    <a:pt x="2201" y="4826"/>
                    <a:pt x="2199" y="4896"/>
                  </a:cubicBezTo>
                  <a:cubicBezTo>
                    <a:pt x="2198" y="4926"/>
                    <a:pt x="2197" y="4956"/>
                    <a:pt x="2195" y="4986"/>
                  </a:cubicBezTo>
                  <a:cubicBezTo>
                    <a:pt x="2193" y="5024"/>
                    <a:pt x="2178" y="5059"/>
                    <a:pt x="2153" y="5087"/>
                  </a:cubicBezTo>
                  <a:cubicBezTo>
                    <a:pt x="2102" y="5144"/>
                    <a:pt x="2036" y="5165"/>
                    <a:pt x="1962" y="5144"/>
                  </a:cubicBezTo>
                  <a:cubicBezTo>
                    <a:pt x="1888" y="5123"/>
                    <a:pt x="1839" y="5073"/>
                    <a:pt x="1824" y="4989"/>
                  </a:cubicBezTo>
                  <a:cubicBezTo>
                    <a:pt x="1804" y="5043"/>
                    <a:pt x="1776" y="5084"/>
                    <a:pt x="1728" y="5111"/>
                  </a:cubicBezTo>
                  <a:cubicBezTo>
                    <a:pt x="1678" y="5138"/>
                    <a:pt x="1628" y="5139"/>
                    <a:pt x="1576" y="5128"/>
                  </a:cubicBezTo>
                  <a:cubicBezTo>
                    <a:pt x="1507" y="5112"/>
                    <a:pt x="1421" y="5032"/>
                    <a:pt x="1434" y="4907"/>
                  </a:cubicBezTo>
                  <a:close/>
                  <a:moveTo>
                    <a:pt x="3570" y="1364"/>
                  </a:moveTo>
                  <a:cubicBezTo>
                    <a:pt x="3492" y="1466"/>
                    <a:pt x="3367" y="1588"/>
                    <a:pt x="3091" y="1643"/>
                  </a:cubicBezTo>
                  <a:cubicBezTo>
                    <a:pt x="3142" y="1670"/>
                    <a:pt x="3195" y="1675"/>
                    <a:pt x="3251" y="1668"/>
                  </a:cubicBezTo>
                  <a:cubicBezTo>
                    <a:pt x="3251" y="1671"/>
                    <a:pt x="3252" y="1673"/>
                    <a:pt x="3253" y="1676"/>
                  </a:cubicBezTo>
                  <a:cubicBezTo>
                    <a:pt x="3211" y="1701"/>
                    <a:pt x="3169" y="1726"/>
                    <a:pt x="3129" y="1750"/>
                  </a:cubicBezTo>
                  <a:cubicBezTo>
                    <a:pt x="3146" y="1752"/>
                    <a:pt x="3164" y="1755"/>
                    <a:pt x="3182" y="1756"/>
                  </a:cubicBezTo>
                  <a:cubicBezTo>
                    <a:pt x="3200" y="1757"/>
                    <a:pt x="3218" y="1756"/>
                    <a:pt x="3238" y="1756"/>
                  </a:cubicBezTo>
                  <a:cubicBezTo>
                    <a:pt x="3214" y="1820"/>
                    <a:pt x="3200" y="1841"/>
                    <a:pt x="3111" y="1891"/>
                  </a:cubicBezTo>
                  <a:cubicBezTo>
                    <a:pt x="3129" y="1912"/>
                    <a:pt x="3147" y="1934"/>
                    <a:pt x="3167" y="1953"/>
                  </a:cubicBezTo>
                  <a:cubicBezTo>
                    <a:pt x="3221" y="2005"/>
                    <a:pt x="3279" y="2050"/>
                    <a:pt x="3349" y="2077"/>
                  </a:cubicBezTo>
                  <a:cubicBezTo>
                    <a:pt x="3366" y="2084"/>
                    <a:pt x="3371" y="2094"/>
                    <a:pt x="3358" y="2108"/>
                  </a:cubicBezTo>
                  <a:cubicBezTo>
                    <a:pt x="3346" y="2122"/>
                    <a:pt x="3329" y="2131"/>
                    <a:pt x="3310" y="2145"/>
                  </a:cubicBezTo>
                  <a:cubicBezTo>
                    <a:pt x="3451" y="2328"/>
                    <a:pt x="3549" y="2534"/>
                    <a:pt x="3592" y="2765"/>
                  </a:cubicBezTo>
                  <a:cubicBezTo>
                    <a:pt x="3626" y="2654"/>
                    <a:pt x="3664" y="2545"/>
                    <a:pt x="3715" y="2441"/>
                  </a:cubicBezTo>
                  <a:cubicBezTo>
                    <a:pt x="3765" y="2337"/>
                    <a:pt x="3832" y="2244"/>
                    <a:pt x="3905" y="2153"/>
                  </a:cubicBezTo>
                  <a:cubicBezTo>
                    <a:pt x="3869" y="2143"/>
                    <a:pt x="3860" y="2133"/>
                    <a:pt x="3852" y="2096"/>
                  </a:cubicBezTo>
                  <a:cubicBezTo>
                    <a:pt x="3955" y="2058"/>
                    <a:pt x="4040" y="1994"/>
                    <a:pt x="4111" y="1913"/>
                  </a:cubicBezTo>
                  <a:cubicBezTo>
                    <a:pt x="4054" y="1879"/>
                    <a:pt x="4006" y="1841"/>
                    <a:pt x="3992" y="1771"/>
                  </a:cubicBezTo>
                  <a:cubicBezTo>
                    <a:pt x="4028" y="1771"/>
                    <a:pt x="4064" y="1771"/>
                    <a:pt x="4105" y="1771"/>
                  </a:cubicBezTo>
                  <a:cubicBezTo>
                    <a:pt x="4056" y="1747"/>
                    <a:pt x="4016" y="1720"/>
                    <a:pt x="3979" y="1684"/>
                  </a:cubicBezTo>
                  <a:cubicBezTo>
                    <a:pt x="4010" y="1684"/>
                    <a:pt x="4036" y="1685"/>
                    <a:pt x="4063" y="1684"/>
                  </a:cubicBezTo>
                  <a:cubicBezTo>
                    <a:pt x="4090" y="1684"/>
                    <a:pt x="4117" y="1683"/>
                    <a:pt x="4139" y="1664"/>
                  </a:cubicBezTo>
                  <a:cubicBezTo>
                    <a:pt x="4115" y="1657"/>
                    <a:pt x="4093" y="1650"/>
                    <a:pt x="4070" y="1644"/>
                  </a:cubicBezTo>
                  <a:cubicBezTo>
                    <a:pt x="3991" y="1627"/>
                    <a:pt x="3921" y="1588"/>
                    <a:pt x="3854" y="1544"/>
                  </a:cubicBezTo>
                  <a:cubicBezTo>
                    <a:pt x="3786" y="1499"/>
                    <a:pt x="3731" y="1440"/>
                    <a:pt x="3680" y="1376"/>
                  </a:cubicBezTo>
                  <a:cubicBezTo>
                    <a:pt x="3675" y="1370"/>
                    <a:pt x="3666" y="1365"/>
                    <a:pt x="3659" y="1365"/>
                  </a:cubicBezTo>
                  <a:cubicBezTo>
                    <a:pt x="3630" y="1363"/>
                    <a:pt x="3602" y="1364"/>
                    <a:pt x="3570" y="1364"/>
                  </a:cubicBezTo>
                  <a:close/>
                  <a:moveTo>
                    <a:pt x="3612" y="3492"/>
                  </a:moveTo>
                  <a:cubicBezTo>
                    <a:pt x="3647" y="3504"/>
                    <a:pt x="3662" y="3535"/>
                    <a:pt x="3669" y="3569"/>
                  </a:cubicBezTo>
                  <a:cubicBezTo>
                    <a:pt x="3673" y="3593"/>
                    <a:pt x="3679" y="3620"/>
                    <a:pt x="3656" y="3641"/>
                  </a:cubicBezTo>
                  <a:cubicBezTo>
                    <a:pt x="3648" y="3648"/>
                    <a:pt x="3639" y="3654"/>
                    <a:pt x="3632" y="3662"/>
                  </a:cubicBezTo>
                  <a:cubicBezTo>
                    <a:pt x="3612" y="3683"/>
                    <a:pt x="3593" y="3705"/>
                    <a:pt x="3572" y="3728"/>
                  </a:cubicBezTo>
                  <a:cubicBezTo>
                    <a:pt x="3652" y="3744"/>
                    <a:pt x="3707" y="3781"/>
                    <a:pt x="3718" y="3868"/>
                  </a:cubicBezTo>
                  <a:cubicBezTo>
                    <a:pt x="3724" y="3860"/>
                    <a:pt x="3727" y="3855"/>
                    <a:pt x="3730" y="3851"/>
                  </a:cubicBezTo>
                  <a:cubicBezTo>
                    <a:pt x="3753" y="3811"/>
                    <a:pt x="3786" y="3780"/>
                    <a:pt x="3821" y="3752"/>
                  </a:cubicBezTo>
                  <a:cubicBezTo>
                    <a:pt x="3882" y="3703"/>
                    <a:pt x="3954" y="3673"/>
                    <a:pt x="4032" y="3660"/>
                  </a:cubicBezTo>
                  <a:cubicBezTo>
                    <a:pt x="4040" y="3659"/>
                    <a:pt x="4052" y="3658"/>
                    <a:pt x="4059" y="3663"/>
                  </a:cubicBezTo>
                  <a:cubicBezTo>
                    <a:pt x="4093" y="3683"/>
                    <a:pt x="4128" y="3704"/>
                    <a:pt x="4160" y="3729"/>
                  </a:cubicBezTo>
                  <a:cubicBezTo>
                    <a:pt x="4185" y="3747"/>
                    <a:pt x="4204" y="3772"/>
                    <a:pt x="4227" y="3794"/>
                  </a:cubicBezTo>
                  <a:cubicBezTo>
                    <a:pt x="4204" y="3801"/>
                    <a:pt x="4183" y="3807"/>
                    <a:pt x="4162" y="3812"/>
                  </a:cubicBezTo>
                  <a:cubicBezTo>
                    <a:pt x="4173" y="3831"/>
                    <a:pt x="4182" y="3846"/>
                    <a:pt x="4191" y="3861"/>
                  </a:cubicBezTo>
                  <a:cubicBezTo>
                    <a:pt x="4224" y="3919"/>
                    <a:pt x="4243" y="3981"/>
                    <a:pt x="4258" y="4046"/>
                  </a:cubicBezTo>
                  <a:cubicBezTo>
                    <a:pt x="4261" y="4061"/>
                    <a:pt x="4243" y="4100"/>
                    <a:pt x="4229" y="4107"/>
                  </a:cubicBezTo>
                  <a:cubicBezTo>
                    <a:pt x="4197" y="4123"/>
                    <a:pt x="4155" y="4111"/>
                    <a:pt x="4136" y="4079"/>
                  </a:cubicBezTo>
                  <a:cubicBezTo>
                    <a:pt x="4116" y="4141"/>
                    <a:pt x="4072" y="4174"/>
                    <a:pt x="4010" y="4186"/>
                  </a:cubicBezTo>
                  <a:cubicBezTo>
                    <a:pt x="4093" y="4268"/>
                    <a:pt x="4132" y="4362"/>
                    <a:pt x="4090" y="4480"/>
                  </a:cubicBezTo>
                  <a:cubicBezTo>
                    <a:pt x="4171" y="4427"/>
                    <a:pt x="4252" y="4385"/>
                    <a:pt x="4345" y="4372"/>
                  </a:cubicBezTo>
                  <a:cubicBezTo>
                    <a:pt x="4347" y="4331"/>
                    <a:pt x="4350" y="4289"/>
                    <a:pt x="4351" y="4248"/>
                  </a:cubicBezTo>
                  <a:cubicBezTo>
                    <a:pt x="4353" y="4177"/>
                    <a:pt x="4354" y="4106"/>
                    <a:pt x="4355" y="4035"/>
                  </a:cubicBezTo>
                  <a:cubicBezTo>
                    <a:pt x="4356" y="3959"/>
                    <a:pt x="4358" y="3884"/>
                    <a:pt x="4359" y="3809"/>
                  </a:cubicBezTo>
                  <a:cubicBezTo>
                    <a:pt x="4359" y="3750"/>
                    <a:pt x="4359" y="3691"/>
                    <a:pt x="4359" y="3631"/>
                  </a:cubicBezTo>
                  <a:cubicBezTo>
                    <a:pt x="4359" y="3626"/>
                    <a:pt x="4360" y="3620"/>
                    <a:pt x="4360" y="3614"/>
                  </a:cubicBezTo>
                  <a:cubicBezTo>
                    <a:pt x="4360" y="3578"/>
                    <a:pt x="4360" y="3541"/>
                    <a:pt x="4360" y="3506"/>
                  </a:cubicBezTo>
                  <a:cubicBezTo>
                    <a:pt x="4326" y="3504"/>
                    <a:pt x="4292" y="3501"/>
                    <a:pt x="4257" y="3500"/>
                  </a:cubicBezTo>
                  <a:cubicBezTo>
                    <a:pt x="4165" y="3498"/>
                    <a:pt x="4072" y="3498"/>
                    <a:pt x="3980" y="3496"/>
                  </a:cubicBezTo>
                  <a:cubicBezTo>
                    <a:pt x="3946" y="3495"/>
                    <a:pt x="3911" y="3493"/>
                    <a:pt x="3877" y="3492"/>
                  </a:cubicBezTo>
                  <a:cubicBezTo>
                    <a:pt x="3789" y="3492"/>
                    <a:pt x="3700" y="3492"/>
                    <a:pt x="3612" y="3492"/>
                  </a:cubicBezTo>
                  <a:close/>
                  <a:moveTo>
                    <a:pt x="3805" y="5532"/>
                  </a:moveTo>
                  <a:cubicBezTo>
                    <a:pt x="3816" y="5532"/>
                    <a:pt x="3826" y="5532"/>
                    <a:pt x="3836" y="5532"/>
                  </a:cubicBezTo>
                  <a:cubicBezTo>
                    <a:pt x="3883" y="5531"/>
                    <a:pt x="3930" y="5529"/>
                    <a:pt x="3978" y="5528"/>
                  </a:cubicBezTo>
                  <a:cubicBezTo>
                    <a:pt x="4030" y="5528"/>
                    <a:pt x="4084" y="5534"/>
                    <a:pt x="4136" y="5526"/>
                  </a:cubicBezTo>
                  <a:cubicBezTo>
                    <a:pt x="4200" y="5516"/>
                    <a:pt x="4257" y="5484"/>
                    <a:pt x="4291" y="5424"/>
                  </a:cubicBezTo>
                  <a:cubicBezTo>
                    <a:pt x="4306" y="5398"/>
                    <a:pt x="4322" y="5369"/>
                    <a:pt x="4326" y="5340"/>
                  </a:cubicBezTo>
                  <a:cubicBezTo>
                    <a:pt x="4333" y="5286"/>
                    <a:pt x="4333" y="5231"/>
                    <a:pt x="4335" y="5176"/>
                  </a:cubicBezTo>
                  <a:cubicBezTo>
                    <a:pt x="4337" y="5109"/>
                    <a:pt x="4338" y="5042"/>
                    <a:pt x="4339" y="4975"/>
                  </a:cubicBezTo>
                  <a:cubicBezTo>
                    <a:pt x="4340" y="4902"/>
                    <a:pt x="4342" y="4829"/>
                    <a:pt x="4343" y="4756"/>
                  </a:cubicBezTo>
                  <a:cubicBezTo>
                    <a:pt x="4343" y="4700"/>
                    <a:pt x="4343" y="4644"/>
                    <a:pt x="4343" y="4588"/>
                  </a:cubicBezTo>
                  <a:cubicBezTo>
                    <a:pt x="4343" y="4582"/>
                    <a:pt x="4344" y="4576"/>
                    <a:pt x="4344" y="4570"/>
                  </a:cubicBezTo>
                  <a:cubicBezTo>
                    <a:pt x="4345" y="4550"/>
                    <a:pt x="4347" y="4529"/>
                    <a:pt x="4348" y="4509"/>
                  </a:cubicBezTo>
                  <a:cubicBezTo>
                    <a:pt x="4341" y="4534"/>
                    <a:pt x="4337" y="4559"/>
                    <a:pt x="4333" y="4584"/>
                  </a:cubicBezTo>
                  <a:cubicBezTo>
                    <a:pt x="4326" y="4627"/>
                    <a:pt x="4316" y="4669"/>
                    <a:pt x="4314" y="4712"/>
                  </a:cubicBezTo>
                  <a:cubicBezTo>
                    <a:pt x="4309" y="4800"/>
                    <a:pt x="4229" y="4866"/>
                    <a:pt x="4143" y="4867"/>
                  </a:cubicBezTo>
                  <a:cubicBezTo>
                    <a:pt x="4143" y="4844"/>
                    <a:pt x="4146" y="4821"/>
                    <a:pt x="4142" y="4799"/>
                  </a:cubicBezTo>
                  <a:cubicBezTo>
                    <a:pt x="4137" y="4765"/>
                    <a:pt x="4156" y="4745"/>
                    <a:pt x="4180" y="4726"/>
                  </a:cubicBezTo>
                  <a:cubicBezTo>
                    <a:pt x="4185" y="4723"/>
                    <a:pt x="4190" y="4720"/>
                    <a:pt x="4195" y="4717"/>
                  </a:cubicBezTo>
                  <a:cubicBezTo>
                    <a:pt x="4217" y="4702"/>
                    <a:pt x="4237" y="4687"/>
                    <a:pt x="4236" y="4656"/>
                  </a:cubicBezTo>
                  <a:cubicBezTo>
                    <a:pt x="4236" y="4638"/>
                    <a:pt x="4244" y="4620"/>
                    <a:pt x="4246" y="4602"/>
                  </a:cubicBezTo>
                  <a:cubicBezTo>
                    <a:pt x="4250" y="4568"/>
                    <a:pt x="4253" y="4533"/>
                    <a:pt x="4256" y="4494"/>
                  </a:cubicBezTo>
                  <a:cubicBezTo>
                    <a:pt x="4235" y="4513"/>
                    <a:pt x="4217" y="4529"/>
                    <a:pt x="4200" y="4545"/>
                  </a:cubicBezTo>
                  <a:cubicBezTo>
                    <a:pt x="4177" y="4567"/>
                    <a:pt x="4152" y="4588"/>
                    <a:pt x="4118" y="4588"/>
                  </a:cubicBezTo>
                  <a:cubicBezTo>
                    <a:pt x="4095" y="4589"/>
                    <a:pt x="4072" y="4588"/>
                    <a:pt x="4047" y="4588"/>
                  </a:cubicBezTo>
                  <a:cubicBezTo>
                    <a:pt x="4033" y="4621"/>
                    <a:pt x="4006" y="4637"/>
                    <a:pt x="3967" y="4632"/>
                  </a:cubicBezTo>
                  <a:cubicBezTo>
                    <a:pt x="3970" y="4644"/>
                    <a:pt x="3973" y="4654"/>
                    <a:pt x="3975" y="4665"/>
                  </a:cubicBezTo>
                  <a:cubicBezTo>
                    <a:pt x="3984" y="4697"/>
                    <a:pt x="3997" y="4727"/>
                    <a:pt x="3988" y="4762"/>
                  </a:cubicBezTo>
                  <a:cubicBezTo>
                    <a:pt x="3985" y="4774"/>
                    <a:pt x="3988" y="4789"/>
                    <a:pt x="3992" y="4801"/>
                  </a:cubicBezTo>
                  <a:cubicBezTo>
                    <a:pt x="4005" y="4851"/>
                    <a:pt x="4023" y="4899"/>
                    <a:pt x="4034" y="4949"/>
                  </a:cubicBezTo>
                  <a:cubicBezTo>
                    <a:pt x="4048" y="5009"/>
                    <a:pt x="4057" y="5069"/>
                    <a:pt x="4067" y="5129"/>
                  </a:cubicBezTo>
                  <a:cubicBezTo>
                    <a:pt x="4073" y="5169"/>
                    <a:pt x="4083" y="5182"/>
                    <a:pt x="4112" y="5190"/>
                  </a:cubicBezTo>
                  <a:cubicBezTo>
                    <a:pt x="4132" y="5167"/>
                    <a:pt x="4149" y="5145"/>
                    <a:pt x="4171" y="5128"/>
                  </a:cubicBezTo>
                  <a:cubicBezTo>
                    <a:pt x="4194" y="5109"/>
                    <a:pt x="4223" y="5110"/>
                    <a:pt x="4253" y="5113"/>
                  </a:cubicBezTo>
                  <a:cubicBezTo>
                    <a:pt x="4191" y="5189"/>
                    <a:pt x="4188" y="5195"/>
                    <a:pt x="4193" y="5220"/>
                  </a:cubicBezTo>
                  <a:cubicBezTo>
                    <a:pt x="4233" y="5187"/>
                    <a:pt x="4274" y="5153"/>
                    <a:pt x="4319" y="5116"/>
                  </a:cubicBezTo>
                  <a:cubicBezTo>
                    <a:pt x="4319" y="5195"/>
                    <a:pt x="4301" y="5261"/>
                    <a:pt x="4258" y="5319"/>
                  </a:cubicBezTo>
                  <a:cubicBezTo>
                    <a:pt x="4253" y="5325"/>
                    <a:pt x="4245" y="5333"/>
                    <a:pt x="4238" y="5334"/>
                  </a:cubicBezTo>
                  <a:cubicBezTo>
                    <a:pt x="4171" y="5347"/>
                    <a:pt x="4104" y="5362"/>
                    <a:pt x="4035" y="5360"/>
                  </a:cubicBezTo>
                  <a:cubicBezTo>
                    <a:pt x="4004" y="5359"/>
                    <a:pt x="3973" y="5361"/>
                    <a:pt x="3941" y="5360"/>
                  </a:cubicBezTo>
                  <a:cubicBezTo>
                    <a:pt x="3921" y="5359"/>
                    <a:pt x="3901" y="5356"/>
                    <a:pt x="3880" y="5356"/>
                  </a:cubicBezTo>
                  <a:cubicBezTo>
                    <a:pt x="3875" y="5356"/>
                    <a:pt x="3865" y="5363"/>
                    <a:pt x="3864" y="5368"/>
                  </a:cubicBezTo>
                  <a:cubicBezTo>
                    <a:pt x="3856" y="5395"/>
                    <a:pt x="3843" y="5418"/>
                    <a:pt x="3819" y="5434"/>
                  </a:cubicBezTo>
                  <a:cubicBezTo>
                    <a:pt x="3808" y="5441"/>
                    <a:pt x="3796" y="5448"/>
                    <a:pt x="3785" y="5455"/>
                  </a:cubicBezTo>
                  <a:cubicBezTo>
                    <a:pt x="3791" y="5480"/>
                    <a:pt x="3798" y="5505"/>
                    <a:pt x="3805" y="5532"/>
                  </a:cubicBezTo>
                  <a:close/>
                  <a:moveTo>
                    <a:pt x="2773" y="4396"/>
                  </a:moveTo>
                  <a:cubicBezTo>
                    <a:pt x="2775" y="4396"/>
                    <a:pt x="2776" y="4396"/>
                    <a:pt x="2777" y="4396"/>
                  </a:cubicBezTo>
                  <a:cubicBezTo>
                    <a:pt x="2785" y="4381"/>
                    <a:pt x="2790" y="4365"/>
                    <a:pt x="2800" y="4351"/>
                  </a:cubicBezTo>
                  <a:cubicBezTo>
                    <a:pt x="2817" y="4325"/>
                    <a:pt x="2833" y="4296"/>
                    <a:pt x="2864" y="4281"/>
                  </a:cubicBezTo>
                  <a:cubicBezTo>
                    <a:pt x="2909" y="4260"/>
                    <a:pt x="2961" y="4263"/>
                    <a:pt x="2997" y="4304"/>
                  </a:cubicBezTo>
                  <a:cubicBezTo>
                    <a:pt x="3015" y="4324"/>
                    <a:pt x="3033" y="4343"/>
                    <a:pt x="3059" y="4352"/>
                  </a:cubicBezTo>
                  <a:cubicBezTo>
                    <a:pt x="3074" y="4358"/>
                    <a:pt x="3087" y="4361"/>
                    <a:pt x="3102" y="4351"/>
                  </a:cubicBezTo>
                  <a:cubicBezTo>
                    <a:pt x="3121" y="4338"/>
                    <a:pt x="3141" y="4326"/>
                    <a:pt x="3162" y="4318"/>
                  </a:cubicBezTo>
                  <a:cubicBezTo>
                    <a:pt x="3201" y="4302"/>
                    <a:pt x="3242" y="4294"/>
                    <a:pt x="3283" y="4305"/>
                  </a:cubicBezTo>
                  <a:cubicBezTo>
                    <a:pt x="3311" y="4312"/>
                    <a:pt x="3338" y="4324"/>
                    <a:pt x="3365" y="4334"/>
                  </a:cubicBezTo>
                  <a:cubicBezTo>
                    <a:pt x="3333" y="4277"/>
                    <a:pt x="3307" y="4219"/>
                    <a:pt x="3325" y="4151"/>
                  </a:cubicBezTo>
                  <a:cubicBezTo>
                    <a:pt x="3326" y="4151"/>
                    <a:pt x="3328" y="4151"/>
                    <a:pt x="3330" y="4152"/>
                  </a:cubicBezTo>
                  <a:cubicBezTo>
                    <a:pt x="3356" y="4175"/>
                    <a:pt x="3385" y="4177"/>
                    <a:pt x="3415" y="4162"/>
                  </a:cubicBezTo>
                  <a:cubicBezTo>
                    <a:pt x="3421" y="4159"/>
                    <a:pt x="3428" y="4154"/>
                    <a:pt x="3430" y="4149"/>
                  </a:cubicBezTo>
                  <a:cubicBezTo>
                    <a:pt x="3435" y="4134"/>
                    <a:pt x="3413" y="4108"/>
                    <a:pt x="3396" y="4108"/>
                  </a:cubicBezTo>
                  <a:cubicBezTo>
                    <a:pt x="3377" y="4109"/>
                    <a:pt x="3358" y="4111"/>
                    <a:pt x="3339" y="4112"/>
                  </a:cubicBezTo>
                  <a:cubicBezTo>
                    <a:pt x="3331" y="4112"/>
                    <a:pt x="3322" y="4108"/>
                    <a:pt x="3314" y="4109"/>
                  </a:cubicBezTo>
                  <a:cubicBezTo>
                    <a:pt x="3278" y="4114"/>
                    <a:pt x="3248" y="4130"/>
                    <a:pt x="3221" y="4157"/>
                  </a:cubicBezTo>
                  <a:cubicBezTo>
                    <a:pt x="3184" y="4194"/>
                    <a:pt x="3109" y="4200"/>
                    <a:pt x="3073" y="4144"/>
                  </a:cubicBezTo>
                  <a:cubicBezTo>
                    <a:pt x="3061" y="4126"/>
                    <a:pt x="3025" y="4120"/>
                    <a:pt x="3013" y="4138"/>
                  </a:cubicBezTo>
                  <a:cubicBezTo>
                    <a:pt x="2999" y="4160"/>
                    <a:pt x="2979" y="4154"/>
                    <a:pt x="2964" y="4151"/>
                  </a:cubicBezTo>
                  <a:cubicBezTo>
                    <a:pt x="2895" y="4136"/>
                    <a:pt x="2852" y="4053"/>
                    <a:pt x="2881" y="3991"/>
                  </a:cubicBezTo>
                  <a:cubicBezTo>
                    <a:pt x="2907" y="3935"/>
                    <a:pt x="2906" y="3880"/>
                    <a:pt x="2864" y="3830"/>
                  </a:cubicBezTo>
                  <a:cubicBezTo>
                    <a:pt x="2861" y="3828"/>
                    <a:pt x="2861" y="3822"/>
                    <a:pt x="2862" y="3818"/>
                  </a:cubicBezTo>
                  <a:cubicBezTo>
                    <a:pt x="2873" y="3787"/>
                    <a:pt x="2891" y="3763"/>
                    <a:pt x="2920" y="3747"/>
                  </a:cubicBezTo>
                  <a:cubicBezTo>
                    <a:pt x="2925" y="3745"/>
                    <a:pt x="2930" y="3737"/>
                    <a:pt x="2931" y="3732"/>
                  </a:cubicBezTo>
                  <a:cubicBezTo>
                    <a:pt x="2934" y="3691"/>
                    <a:pt x="2934" y="3650"/>
                    <a:pt x="2940" y="3609"/>
                  </a:cubicBezTo>
                  <a:cubicBezTo>
                    <a:pt x="2944" y="3577"/>
                    <a:pt x="2955" y="3545"/>
                    <a:pt x="2963" y="3511"/>
                  </a:cubicBezTo>
                  <a:cubicBezTo>
                    <a:pt x="3020" y="3554"/>
                    <a:pt x="3074" y="3595"/>
                    <a:pt x="3126" y="3633"/>
                  </a:cubicBezTo>
                  <a:cubicBezTo>
                    <a:pt x="3143" y="3610"/>
                    <a:pt x="3160" y="3588"/>
                    <a:pt x="3176" y="3565"/>
                  </a:cubicBezTo>
                  <a:cubicBezTo>
                    <a:pt x="3181" y="3558"/>
                    <a:pt x="3187" y="3546"/>
                    <a:pt x="3185" y="3541"/>
                  </a:cubicBezTo>
                  <a:cubicBezTo>
                    <a:pt x="3174" y="3520"/>
                    <a:pt x="3178" y="3501"/>
                    <a:pt x="3193" y="3481"/>
                  </a:cubicBezTo>
                  <a:cubicBezTo>
                    <a:pt x="3057" y="3478"/>
                    <a:pt x="2925" y="3475"/>
                    <a:pt x="2793" y="3472"/>
                  </a:cubicBezTo>
                  <a:cubicBezTo>
                    <a:pt x="2791" y="3517"/>
                    <a:pt x="2788" y="3560"/>
                    <a:pt x="2787" y="3603"/>
                  </a:cubicBezTo>
                  <a:cubicBezTo>
                    <a:pt x="2785" y="3684"/>
                    <a:pt x="2784" y="3765"/>
                    <a:pt x="2783" y="3846"/>
                  </a:cubicBezTo>
                  <a:cubicBezTo>
                    <a:pt x="2781" y="3995"/>
                    <a:pt x="2780" y="4143"/>
                    <a:pt x="2779" y="4291"/>
                  </a:cubicBezTo>
                  <a:cubicBezTo>
                    <a:pt x="2779" y="4295"/>
                    <a:pt x="2779" y="4299"/>
                    <a:pt x="2779" y="4303"/>
                  </a:cubicBezTo>
                  <a:cubicBezTo>
                    <a:pt x="2777" y="4334"/>
                    <a:pt x="2775" y="4365"/>
                    <a:pt x="2773" y="4396"/>
                  </a:cubicBezTo>
                  <a:close/>
                  <a:moveTo>
                    <a:pt x="3282" y="5413"/>
                  </a:moveTo>
                  <a:cubicBezTo>
                    <a:pt x="3282" y="5411"/>
                    <a:pt x="3281" y="5410"/>
                    <a:pt x="3281" y="5408"/>
                  </a:cubicBezTo>
                  <a:cubicBezTo>
                    <a:pt x="3287" y="5402"/>
                    <a:pt x="3294" y="5397"/>
                    <a:pt x="3305" y="5387"/>
                  </a:cubicBezTo>
                  <a:cubicBezTo>
                    <a:pt x="3261" y="5387"/>
                    <a:pt x="3221" y="5387"/>
                    <a:pt x="3177" y="5387"/>
                  </a:cubicBezTo>
                  <a:cubicBezTo>
                    <a:pt x="3187" y="5381"/>
                    <a:pt x="3192" y="5377"/>
                    <a:pt x="3199" y="5372"/>
                  </a:cubicBezTo>
                  <a:cubicBezTo>
                    <a:pt x="3029" y="5348"/>
                    <a:pt x="2928" y="5255"/>
                    <a:pt x="2896" y="5093"/>
                  </a:cubicBezTo>
                  <a:cubicBezTo>
                    <a:pt x="2893" y="5129"/>
                    <a:pt x="2888" y="5169"/>
                    <a:pt x="2887" y="5209"/>
                  </a:cubicBezTo>
                  <a:cubicBezTo>
                    <a:pt x="2887" y="5244"/>
                    <a:pt x="2890" y="5280"/>
                    <a:pt x="2891" y="5316"/>
                  </a:cubicBezTo>
                  <a:cubicBezTo>
                    <a:pt x="2892" y="5333"/>
                    <a:pt x="2880" y="5348"/>
                    <a:pt x="2864" y="5348"/>
                  </a:cubicBezTo>
                  <a:cubicBezTo>
                    <a:pt x="2848" y="5349"/>
                    <a:pt x="2836" y="5335"/>
                    <a:pt x="2835" y="5318"/>
                  </a:cubicBezTo>
                  <a:cubicBezTo>
                    <a:pt x="2833" y="5294"/>
                    <a:pt x="2829" y="5270"/>
                    <a:pt x="2827" y="5245"/>
                  </a:cubicBezTo>
                  <a:cubicBezTo>
                    <a:pt x="2823" y="5172"/>
                    <a:pt x="2816" y="5098"/>
                    <a:pt x="2816" y="5025"/>
                  </a:cubicBezTo>
                  <a:cubicBezTo>
                    <a:pt x="2816" y="4977"/>
                    <a:pt x="2786" y="4944"/>
                    <a:pt x="2769" y="4899"/>
                  </a:cubicBezTo>
                  <a:cubicBezTo>
                    <a:pt x="2767" y="4936"/>
                    <a:pt x="2764" y="4967"/>
                    <a:pt x="2763" y="4998"/>
                  </a:cubicBezTo>
                  <a:cubicBezTo>
                    <a:pt x="2761" y="5063"/>
                    <a:pt x="2760" y="5128"/>
                    <a:pt x="2759" y="5193"/>
                  </a:cubicBezTo>
                  <a:cubicBezTo>
                    <a:pt x="2759" y="5229"/>
                    <a:pt x="2762" y="5266"/>
                    <a:pt x="2763" y="5302"/>
                  </a:cubicBezTo>
                  <a:cubicBezTo>
                    <a:pt x="2765" y="5345"/>
                    <a:pt x="2783" y="5383"/>
                    <a:pt x="2807" y="5417"/>
                  </a:cubicBezTo>
                  <a:cubicBezTo>
                    <a:pt x="2830" y="5449"/>
                    <a:pt x="2860" y="5476"/>
                    <a:pt x="2900" y="5488"/>
                  </a:cubicBezTo>
                  <a:cubicBezTo>
                    <a:pt x="2929" y="5497"/>
                    <a:pt x="2959" y="5508"/>
                    <a:pt x="2990" y="5511"/>
                  </a:cubicBezTo>
                  <a:cubicBezTo>
                    <a:pt x="3043" y="5516"/>
                    <a:pt x="3097" y="5515"/>
                    <a:pt x="3151" y="5516"/>
                  </a:cubicBezTo>
                  <a:cubicBezTo>
                    <a:pt x="3179" y="5517"/>
                    <a:pt x="3208" y="5519"/>
                    <a:pt x="3236" y="5520"/>
                  </a:cubicBezTo>
                  <a:cubicBezTo>
                    <a:pt x="3294" y="5523"/>
                    <a:pt x="3340" y="5550"/>
                    <a:pt x="3380" y="5588"/>
                  </a:cubicBezTo>
                  <a:cubicBezTo>
                    <a:pt x="3435" y="5641"/>
                    <a:pt x="3487" y="5697"/>
                    <a:pt x="3539" y="5751"/>
                  </a:cubicBezTo>
                  <a:cubicBezTo>
                    <a:pt x="3617" y="5688"/>
                    <a:pt x="3679" y="5608"/>
                    <a:pt x="3762" y="5552"/>
                  </a:cubicBezTo>
                  <a:cubicBezTo>
                    <a:pt x="3754" y="5522"/>
                    <a:pt x="3746" y="5491"/>
                    <a:pt x="3739" y="5464"/>
                  </a:cubicBezTo>
                  <a:cubicBezTo>
                    <a:pt x="3721" y="5464"/>
                    <a:pt x="3706" y="5467"/>
                    <a:pt x="3693" y="5463"/>
                  </a:cubicBezTo>
                  <a:cubicBezTo>
                    <a:pt x="3658" y="5453"/>
                    <a:pt x="3629" y="5466"/>
                    <a:pt x="3599" y="5482"/>
                  </a:cubicBezTo>
                  <a:cubicBezTo>
                    <a:pt x="3572" y="5496"/>
                    <a:pt x="3544" y="5507"/>
                    <a:pt x="3514" y="5521"/>
                  </a:cubicBezTo>
                  <a:cubicBezTo>
                    <a:pt x="3514" y="5496"/>
                    <a:pt x="3514" y="5475"/>
                    <a:pt x="3514" y="5453"/>
                  </a:cubicBezTo>
                  <a:cubicBezTo>
                    <a:pt x="3472" y="5448"/>
                    <a:pt x="3432" y="5444"/>
                    <a:pt x="3390" y="5439"/>
                  </a:cubicBezTo>
                  <a:cubicBezTo>
                    <a:pt x="3392" y="5428"/>
                    <a:pt x="3393" y="5419"/>
                    <a:pt x="3395" y="5408"/>
                  </a:cubicBezTo>
                  <a:cubicBezTo>
                    <a:pt x="3357" y="5409"/>
                    <a:pt x="3320" y="5411"/>
                    <a:pt x="3282" y="5413"/>
                  </a:cubicBezTo>
                  <a:close/>
                  <a:moveTo>
                    <a:pt x="3247" y="4739"/>
                  </a:moveTo>
                  <a:cubicBezTo>
                    <a:pt x="3193" y="4744"/>
                    <a:pt x="3148" y="4768"/>
                    <a:pt x="3103" y="4792"/>
                  </a:cubicBezTo>
                  <a:cubicBezTo>
                    <a:pt x="3085" y="4803"/>
                    <a:pt x="3066" y="4815"/>
                    <a:pt x="3051" y="4830"/>
                  </a:cubicBezTo>
                  <a:cubicBezTo>
                    <a:pt x="3017" y="4865"/>
                    <a:pt x="2983" y="4900"/>
                    <a:pt x="2961" y="4945"/>
                  </a:cubicBezTo>
                  <a:cubicBezTo>
                    <a:pt x="2955" y="4957"/>
                    <a:pt x="2943" y="4973"/>
                    <a:pt x="2946" y="4983"/>
                  </a:cubicBezTo>
                  <a:cubicBezTo>
                    <a:pt x="2958" y="5017"/>
                    <a:pt x="2972" y="5051"/>
                    <a:pt x="2991" y="5081"/>
                  </a:cubicBezTo>
                  <a:cubicBezTo>
                    <a:pt x="3019" y="5125"/>
                    <a:pt x="3050" y="5167"/>
                    <a:pt x="3082" y="5208"/>
                  </a:cubicBezTo>
                  <a:cubicBezTo>
                    <a:pt x="3099" y="5230"/>
                    <a:pt x="3125" y="5237"/>
                    <a:pt x="3153" y="5228"/>
                  </a:cubicBezTo>
                  <a:cubicBezTo>
                    <a:pt x="3173" y="5221"/>
                    <a:pt x="3189" y="5209"/>
                    <a:pt x="3195" y="5188"/>
                  </a:cubicBezTo>
                  <a:cubicBezTo>
                    <a:pt x="3211" y="5132"/>
                    <a:pt x="3241" y="5086"/>
                    <a:pt x="3291" y="5054"/>
                  </a:cubicBezTo>
                  <a:cubicBezTo>
                    <a:pt x="3323" y="5033"/>
                    <a:pt x="3358" y="5022"/>
                    <a:pt x="3399" y="5019"/>
                  </a:cubicBezTo>
                  <a:cubicBezTo>
                    <a:pt x="3347" y="4989"/>
                    <a:pt x="3300" y="4961"/>
                    <a:pt x="3251" y="4935"/>
                  </a:cubicBezTo>
                  <a:cubicBezTo>
                    <a:pt x="3231" y="4924"/>
                    <a:pt x="3213" y="4906"/>
                    <a:pt x="3187" y="4907"/>
                  </a:cubicBezTo>
                  <a:cubicBezTo>
                    <a:pt x="3182" y="4907"/>
                    <a:pt x="3174" y="4896"/>
                    <a:pt x="3172" y="4888"/>
                  </a:cubicBezTo>
                  <a:cubicBezTo>
                    <a:pt x="3171" y="4882"/>
                    <a:pt x="3175" y="4874"/>
                    <a:pt x="3179" y="4867"/>
                  </a:cubicBezTo>
                  <a:cubicBezTo>
                    <a:pt x="3182" y="4862"/>
                    <a:pt x="3188" y="4858"/>
                    <a:pt x="3192" y="4854"/>
                  </a:cubicBezTo>
                  <a:cubicBezTo>
                    <a:pt x="3222" y="4821"/>
                    <a:pt x="3235" y="4781"/>
                    <a:pt x="3247" y="4739"/>
                  </a:cubicBezTo>
                  <a:close/>
                  <a:moveTo>
                    <a:pt x="3921" y="5064"/>
                  </a:moveTo>
                  <a:cubicBezTo>
                    <a:pt x="3928" y="5050"/>
                    <a:pt x="3935" y="5036"/>
                    <a:pt x="3942" y="5022"/>
                  </a:cubicBezTo>
                  <a:cubicBezTo>
                    <a:pt x="3952" y="5001"/>
                    <a:pt x="3973" y="5019"/>
                    <a:pt x="3986" y="5009"/>
                  </a:cubicBezTo>
                  <a:cubicBezTo>
                    <a:pt x="3965" y="4948"/>
                    <a:pt x="3945" y="4887"/>
                    <a:pt x="3939" y="4822"/>
                  </a:cubicBezTo>
                  <a:cubicBezTo>
                    <a:pt x="3937" y="4810"/>
                    <a:pt x="3933" y="4799"/>
                    <a:pt x="3920" y="4790"/>
                  </a:cubicBezTo>
                  <a:cubicBezTo>
                    <a:pt x="3884" y="4767"/>
                    <a:pt x="3862" y="4732"/>
                    <a:pt x="3847" y="4693"/>
                  </a:cubicBezTo>
                  <a:cubicBezTo>
                    <a:pt x="3845" y="4686"/>
                    <a:pt x="3841" y="4679"/>
                    <a:pt x="3840" y="4676"/>
                  </a:cubicBezTo>
                  <a:cubicBezTo>
                    <a:pt x="3807" y="4676"/>
                    <a:pt x="3778" y="4676"/>
                    <a:pt x="3743" y="4676"/>
                  </a:cubicBezTo>
                  <a:cubicBezTo>
                    <a:pt x="3766" y="4728"/>
                    <a:pt x="3788" y="4777"/>
                    <a:pt x="3812" y="4831"/>
                  </a:cubicBezTo>
                  <a:cubicBezTo>
                    <a:pt x="3779" y="4827"/>
                    <a:pt x="3749" y="4824"/>
                    <a:pt x="3718" y="4820"/>
                  </a:cubicBezTo>
                  <a:cubicBezTo>
                    <a:pt x="3713" y="4819"/>
                    <a:pt x="3705" y="4814"/>
                    <a:pt x="3702" y="4809"/>
                  </a:cubicBezTo>
                  <a:cubicBezTo>
                    <a:pt x="3683" y="4777"/>
                    <a:pt x="3666" y="4744"/>
                    <a:pt x="3648" y="4712"/>
                  </a:cubicBezTo>
                  <a:cubicBezTo>
                    <a:pt x="3626" y="4719"/>
                    <a:pt x="3601" y="4726"/>
                    <a:pt x="3576" y="4734"/>
                  </a:cubicBezTo>
                  <a:cubicBezTo>
                    <a:pt x="3585" y="4765"/>
                    <a:pt x="3594" y="4794"/>
                    <a:pt x="3603" y="4823"/>
                  </a:cubicBezTo>
                  <a:cubicBezTo>
                    <a:pt x="3628" y="4912"/>
                    <a:pt x="3654" y="5002"/>
                    <a:pt x="3679" y="5091"/>
                  </a:cubicBezTo>
                  <a:cubicBezTo>
                    <a:pt x="3685" y="5113"/>
                    <a:pt x="3702" y="5121"/>
                    <a:pt x="3720" y="5122"/>
                  </a:cubicBezTo>
                  <a:cubicBezTo>
                    <a:pt x="3733" y="5122"/>
                    <a:pt x="3749" y="5116"/>
                    <a:pt x="3759" y="5107"/>
                  </a:cubicBezTo>
                  <a:cubicBezTo>
                    <a:pt x="3785" y="5082"/>
                    <a:pt x="3795" y="5048"/>
                    <a:pt x="3801" y="5012"/>
                  </a:cubicBezTo>
                  <a:cubicBezTo>
                    <a:pt x="3842" y="5030"/>
                    <a:pt x="3881" y="5047"/>
                    <a:pt x="3921" y="5064"/>
                  </a:cubicBezTo>
                  <a:close/>
                  <a:moveTo>
                    <a:pt x="3214" y="7445"/>
                  </a:moveTo>
                  <a:cubicBezTo>
                    <a:pt x="3233" y="7133"/>
                    <a:pt x="3299" y="6834"/>
                    <a:pt x="3404" y="6542"/>
                  </a:cubicBezTo>
                  <a:cubicBezTo>
                    <a:pt x="3356" y="6613"/>
                    <a:pt x="3309" y="6685"/>
                    <a:pt x="3268" y="6761"/>
                  </a:cubicBezTo>
                  <a:cubicBezTo>
                    <a:pt x="3231" y="6829"/>
                    <a:pt x="3203" y="6903"/>
                    <a:pt x="3184" y="6979"/>
                  </a:cubicBezTo>
                  <a:cubicBezTo>
                    <a:pt x="3167" y="7045"/>
                    <a:pt x="3150" y="7112"/>
                    <a:pt x="3140" y="7179"/>
                  </a:cubicBezTo>
                  <a:cubicBezTo>
                    <a:pt x="3132" y="7242"/>
                    <a:pt x="3134" y="7307"/>
                    <a:pt x="3131" y="7371"/>
                  </a:cubicBezTo>
                  <a:cubicBezTo>
                    <a:pt x="3131" y="7377"/>
                    <a:pt x="3133" y="7383"/>
                    <a:pt x="3135" y="7388"/>
                  </a:cubicBezTo>
                  <a:cubicBezTo>
                    <a:pt x="3149" y="7423"/>
                    <a:pt x="3178" y="7436"/>
                    <a:pt x="3214" y="7445"/>
                  </a:cubicBezTo>
                  <a:close/>
                  <a:moveTo>
                    <a:pt x="3620" y="6550"/>
                  </a:moveTo>
                  <a:cubicBezTo>
                    <a:pt x="3722" y="6843"/>
                    <a:pt x="3763" y="7147"/>
                    <a:pt x="3775" y="7455"/>
                  </a:cubicBezTo>
                  <a:cubicBezTo>
                    <a:pt x="3783" y="7454"/>
                    <a:pt x="3789" y="7454"/>
                    <a:pt x="3794" y="7452"/>
                  </a:cubicBezTo>
                  <a:cubicBezTo>
                    <a:pt x="3810" y="7444"/>
                    <a:pt x="3829" y="7438"/>
                    <a:pt x="3839" y="7425"/>
                  </a:cubicBezTo>
                  <a:cubicBezTo>
                    <a:pt x="3856" y="7404"/>
                    <a:pt x="3864" y="7377"/>
                    <a:pt x="3863" y="7348"/>
                  </a:cubicBezTo>
                  <a:cubicBezTo>
                    <a:pt x="3862" y="7305"/>
                    <a:pt x="3861" y="7261"/>
                    <a:pt x="3859" y="7217"/>
                  </a:cubicBezTo>
                  <a:cubicBezTo>
                    <a:pt x="3856" y="7174"/>
                    <a:pt x="3855" y="7130"/>
                    <a:pt x="3846" y="7088"/>
                  </a:cubicBezTo>
                  <a:cubicBezTo>
                    <a:pt x="3831" y="7018"/>
                    <a:pt x="3812" y="6949"/>
                    <a:pt x="3790" y="6881"/>
                  </a:cubicBezTo>
                  <a:cubicBezTo>
                    <a:pt x="3753" y="6761"/>
                    <a:pt x="3693" y="6653"/>
                    <a:pt x="3620" y="6550"/>
                  </a:cubicBezTo>
                  <a:close/>
                  <a:moveTo>
                    <a:pt x="4348" y="7307"/>
                  </a:moveTo>
                  <a:cubicBezTo>
                    <a:pt x="4351" y="7307"/>
                    <a:pt x="4352" y="7308"/>
                    <a:pt x="4353" y="7307"/>
                  </a:cubicBezTo>
                  <a:cubicBezTo>
                    <a:pt x="4406" y="7282"/>
                    <a:pt x="4445" y="7242"/>
                    <a:pt x="4471" y="7190"/>
                  </a:cubicBezTo>
                  <a:cubicBezTo>
                    <a:pt x="4483" y="7165"/>
                    <a:pt x="4495" y="7139"/>
                    <a:pt x="4503" y="7112"/>
                  </a:cubicBezTo>
                  <a:cubicBezTo>
                    <a:pt x="4514" y="7073"/>
                    <a:pt x="4510" y="7034"/>
                    <a:pt x="4503" y="6994"/>
                  </a:cubicBezTo>
                  <a:cubicBezTo>
                    <a:pt x="4494" y="6939"/>
                    <a:pt x="4475" y="6888"/>
                    <a:pt x="4434" y="6850"/>
                  </a:cubicBezTo>
                  <a:cubicBezTo>
                    <a:pt x="4387" y="6806"/>
                    <a:pt x="4337" y="6766"/>
                    <a:pt x="4286" y="6726"/>
                  </a:cubicBezTo>
                  <a:cubicBezTo>
                    <a:pt x="4230" y="6681"/>
                    <a:pt x="4173" y="6638"/>
                    <a:pt x="4115" y="6594"/>
                  </a:cubicBezTo>
                  <a:cubicBezTo>
                    <a:pt x="4068" y="6558"/>
                    <a:pt x="4019" y="6524"/>
                    <a:pt x="3973" y="6487"/>
                  </a:cubicBezTo>
                  <a:cubicBezTo>
                    <a:pt x="3938" y="6460"/>
                    <a:pt x="3904" y="6432"/>
                    <a:pt x="3871" y="6402"/>
                  </a:cubicBezTo>
                  <a:cubicBezTo>
                    <a:pt x="3838" y="6371"/>
                    <a:pt x="3807" y="6339"/>
                    <a:pt x="3776" y="6307"/>
                  </a:cubicBezTo>
                  <a:cubicBezTo>
                    <a:pt x="3760" y="6290"/>
                    <a:pt x="3745" y="6271"/>
                    <a:pt x="3728" y="6251"/>
                  </a:cubicBezTo>
                  <a:cubicBezTo>
                    <a:pt x="3727" y="6257"/>
                    <a:pt x="3726" y="6260"/>
                    <a:pt x="3727" y="6261"/>
                  </a:cubicBezTo>
                  <a:cubicBezTo>
                    <a:pt x="3732" y="6269"/>
                    <a:pt x="3739" y="6276"/>
                    <a:pt x="3744" y="6283"/>
                  </a:cubicBezTo>
                  <a:cubicBezTo>
                    <a:pt x="3777" y="6327"/>
                    <a:pt x="3808" y="6373"/>
                    <a:pt x="3844" y="6414"/>
                  </a:cubicBezTo>
                  <a:cubicBezTo>
                    <a:pt x="3916" y="6496"/>
                    <a:pt x="3998" y="6565"/>
                    <a:pt x="4089" y="6624"/>
                  </a:cubicBezTo>
                  <a:cubicBezTo>
                    <a:pt x="4139" y="6657"/>
                    <a:pt x="4189" y="6688"/>
                    <a:pt x="4227" y="6736"/>
                  </a:cubicBezTo>
                  <a:cubicBezTo>
                    <a:pt x="4262" y="6781"/>
                    <a:pt x="4290" y="6829"/>
                    <a:pt x="4306" y="6883"/>
                  </a:cubicBezTo>
                  <a:cubicBezTo>
                    <a:pt x="4320" y="6930"/>
                    <a:pt x="4326" y="6979"/>
                    <a:pt x="4335" y="7026"/>
                  </a:cubicBezTo>
                  <a:cubicBezTo>
                    <a:pt x="4363" y="6946"/>
                    <a:pt x="4353" y="6868"/>
                    <a:pt x="4310" y="6792"/>
                  </a:cubicBezTo>
                  <a:cubicBezTo>
                    <a:pt x="4388" y="6842"/>
                    <a:pt x="4441" y="6911"/>
                    <a:pt x="4457" y="7001"/>
                  </a:cubicBezTo>
                  <a:cubicBezTo>
                    <a:pt x="4477" y="7121"/>
                    <a:pt x="4441" y="7225"/>
                    <a:pt x="4348" y="7307"/>
                  </a:cubicBezTo>
                  <a:close/>
                  <a:moveTo>
                    <a:pt x="3324" y="6236"/>
                  </a:moveTo>
                  <a:cubicBezTo>
                    <a:pt x="3323" y="6235"/>
                    <a:pt x="3322" y="6235"/>
                    <a:pt x="3322" y="6234"/>
                  </a:cubicBezTo>
                  <a:cubicBezTo>
                    <a:pt x="3289" y="6266"/>
                    <a:pt x="3257" y="6299"/>
                    <a:pt x="3223" y="6329"/>
                  </a:cubicBezTo>
                  <a:cubicBezTo>
                    <a:pt x="3171" y="6375"/>
                    <a:pt x="3118" y="6421"/>
                    <a:pt x="3063" y="6463"/>
                  </a:cubicBezTo>
                  <a:cubicBezTo>
                    <a:pt x="3009" y="6504"/>
                    <a:pt x="2951" y="6540"/>
                    <a:pt x="2895" y="6578"/>
                  </a:cubicBezTo>
                  <a:cubicBezTo>
                    <a:pt x="2838" y="6617"/>
                    <a:pt x="2781" y="6656"/>
                    <a:pt x="2725" y="6697"/>
                  </a:cubicBezTo>
                  <a:cubicBezTo>
                    <a:pt x="2677" y="6732"/>
                    <a:pt x="2628" y="6767"/>
                    <a:pt x="2584" y="6807"/>
                  </a:cubicBezTo>
                  <a:cubicBezTo>
                    <a:pt x="2524" y="6859"/>
                    <a:pt x="2498" y="6930"/>
                    <a:pt x="2495" y="7008"/>
                  </a:cubicBezTo>
                  <a:cubicBezTo>
                    <a:pt x="2494" y="7049"/>
                    <a:pt x="2499" y="7088"/>
                    <a:pt x="2516" y="7125"/>
                  </a:cubicBezTo>
                  <a:cubicBezTo>
                    <a:pt x="2537" y="7173"/>
                    <a:pt x="2565" y="7215"/>
                    <a:pt x="2606" y="7249"/>
                  </a:cubicBezTo>
                  <a:cubicBezTo>
                    <a:pt x="2614" y="7255"/>
                    <a:pt x="2624" y="7259"/>
                    <a:pt x="2633" y="7264"/>
                  </a:cubicBezTo>
                  <a:cubicBezTo>
                    <a:pt x="2471" y="7088"/>
                    <a:pt x="2544" y="6840"/>
                    <a:pt x="2710" y="6755"/>
                  </a:cubicBezTo>
                  <a:cubicBezTo>
                    <a:pt x="2662" y="6833"/>
                    <a:pt x="2646" y="6912"/>
                    <a:pt x="2674" y="6996"/>
                  </a:cubicBezTo>
                  <a:cubicBezTo>
                    <a:pt x="2678" y="6970"/>
                    <a:pt x="2679" y="6943"/>
                    <a:pt x="2685" y="6918"/>
                  </a:cubicBezTo>
                  <a:cubicBezTo>
                    <a:pt x="2700" y="6854"/>
                    <a:pt x="2725" y="6795"/>
                    <a:pt x="2764" y="6742"/>
                  </a:cubicBezTo>
                  <a:cubicBezTo>
                    <a:pt x="2801" y="6692"/>
                    <a:pt x="2845" y="6650"/>
                    <a:pt x="2898" y="6619"/>
                  </a:cubicBezTo>
                  <a:cubicBezTo>
                    <a:pt x="2987" y="6570"/>
                    <a:pt x="3069" y="6513"/>
                    <a:pt x="3142" y="6444"/>
                  </a:cubicBezTo>
                  <a:cubicBezTo>
                    <a:pt x="3186" y="6403"/>
                    <a:pt x="3224" y="6357"/>
                    <a:pt x="3264" y="6313"/>
                  </a:cubicBezTo>
                  <a:cubicBezTo>
                    <a:pt x="3285" y="6288"/>
                    <a:pt x="3304" y="6261"/>
                    <a:pt x="3324" y="6236"/>
                  </a:cubicBezTo>
                  <a:close/>
                  <a:moveTo>
                    <a:pt x="2872" y="4911"/>
                  </a:moveTo>
                  <a:cubicBezTo>
                    <a:pt x="2893" y="4879"/>
                    <a:pt x="2912" y="4845"/>
                    <a:pt x="2935" y="4815"/>
                  </a:cubicBezTo>
                  <a:cubicBezTo>
                    <a:pt x="2959" y="4784"/>
                    <a:pt x="2984" y="4754"/>
                    <a:pt x="3012" y="4727"/>
                  </a:cubicBezTo>
                  <a:cubicBezTo>
                    <a:pt x="3028" y="4711"/>
                    <a:pt x="3028" y="4695"/>
                    <a:pt x="3027" y="4677"/>
                  </a:cubicBezTo>
                  <a:cubicBezTo>
                    <a:pt x="3026" y="4665"/>
                    <a:pt x="3023" y="4654"/>
                    <a:pt x="3023" y="4643"/>
                  </a:cubicBezTo>
                  <a:cubicBezTo>
                    <a:pt x="3024" y="4613"/>
                    <a:pt x="3024" y="4582"/>
                    <a:pt x="3027" y="4552"/>
                  </a:cubicBezTo>
                  <a:cubicBezTo>
                    <a:pt x="3032" y="4503"/>
                    <a:pt x="3038" y="4455"/>
                    <a:pt x="3044" y="4406"/>
                  </a:cubicBezTo>
                  <a:cubicBezTo>
                    <a:pt x="2990" y="4392"/>
                    <a:pt x="2960" y="4407"/>
                    <a:pt x="2939" y="4462"/>
                  </a:cubicBezTo>
                  <a:cubicBezTo>
                    <a:pt x="2937" y="4468"/>
                    <a:pt x="2934" y="4475"/>
                    <a:pt x="2936" y="4478"/>
                  </a:cubicBezTo>
                  <a:cubicBezTo>
                    <a:pt x="2954" y="4514"/>
                    <a:pt x="2952" y="4552"/>
                    <a:pt x="2946" y="4589"/>
                  </a:cubicBezTo>
                  <a:cubicBezTo>
                    <a:pt x="2943" y="4607"/>
                    <a:pt x="2938" y="4625"/>
                    <a:pt x="2930" y="4641"/>
                  </a:cubicBezTo>
                  <a:cubicBezTo>
                    <a:pt x="2911" y="4677"/>
                    <a:pt x="2887" y="4711"/>
                    <a:pt x="2852" y="4731"/>
                  </a:cubicBezTo>
                  <a:cubicBezTo>
                    <a:pt x="2829" y="4745"/>
                    <a:pt x="2806" y="4772"/>
                    <a:pt x="2772" y="4751"/>
                  </a:cubicBezTo>
                  <a:cubicBezTo>
                    <a:pt x="2770" y="4784"/>
                    <a:pt x="2768" y="4814"/>
                    <a:pt x="2767" y="4844"/>
                  </a:cubicBezTo>
                  <a:cubicBezTo>
                    <a:pt x="2767" y="4849"/>
                    <a:pt x="2772" y="4856"/>
                    <a:pt x="2776" y="4859"/>
                  </a:cubicBezTo>
                  <a:cubicBezTo>
                    <a:pt x="2808" y="4877"/>
                    <a:pt x="2840" y="4894"/>
                    <a:pt x="2872" y="4911"/>
                  </a:cubicBezTo>
                  <a:close/>
                  <a:moveTo>
                    <a:pt x="3431" y="4718"/>
                  </a:moveTo>
                  <a:cubicBezTo>
                    <a:pt x="3405" y="4782"/>
                    <a:pt x="3365" y="4835"/>
                    <a:pt x="3303" y="4869"/>
                  </a:cubicBezTo>
                  <a:cubicBezTo>
                    <a:pt x="3338" y="4883"/>
                    <a:pt x="3373" y="4891"/>
                    <a:pt x="3401" y="4910"/>
                  </a:cubicBezTo>
                  <a:cubicBezTo>
                    <a:pt x="3459" y="4949"/>
                    <a:pt x="3516" y="4990"/>
                    <a:pt x="3552" y="5054"/>
                  </a:cubicBezTo>
                  <a:cubicBezTo>
                    <a:pt x="3559" y="5067"/>
                    <a:pt x="3571" y="5076"/>
                    <a:pt x="3589" y="5072"/>
                  </a:cubicBezTo>
                  <a:cubicBezTo>
                    <a:pt x="3600" y="5069"/>
                    <a:pt x="3613" y="5068"/>
                    <a:pt x="3626" y="5066"/>
                  </a:cubicBezTo>
                  <a:cubicBezTo>
                    <a:pt x="3621" y="5050"/>
                    <a:pt x="3616" y="5034"/>
                    <a:pt x="3611" y="5018"/>
                  </a:cubicBezTo>
                  <a:cubicBezTo>
                    <a:pt x="3585" y="4926"/>
                    <a:pt x="3557" y="4835"/>
                    <a:pt x="3532" y="4744"/>
                  </a:cubicBezTo>
                  <a:cubicBezTo>
                    <a:pt x="3528" y="4730"/>
                    <a:pt x="3522" y="4729"/>
                    <a:pt x="3511" y="4728"/>
                  </a:cubicBezTo>
                  <a:cubicBezTo>
                    <a:pt x="3485" y="4725"/>
                    <a:pt x="3459" y="4721"/>
                    <a:pt x="3431" y="4718"/>
                  </a:cubicBezTo>
                  <a:close/>
                  <a:moveTo>
                    <a:pt x="3794" y="5689"/>
                  </a:moveTo>
                  <a:cubicBezTo>
                    <a:pt x="3767" y="5787"/>
                    <a:pt x="3733" y="5884"/>
                    <a:pt x="3687" y="5975"/>
                  </a:cubicBezTo>
                  <a:cubicBezTo>
                    <a:pt x="3641" y="6067"/>
                    <a:pt x="3583" y="6152"/>
                    <a:pt x="3519" y="6238"/>
                  </a:cubicBezTo>
                  <a:cubicBezTo>
                    <a:pt x="3390" y="6056"/>
                    <a:pt x="3300" y="5860"/>
                    <a:pt x="3265" y="5640"/>
                  </a:cubicBezTo>
                  <a:cubicBezTo>
                    <a:pt x="3263" y="5752"/>
                    <a:pt x="3285" y="5860"/>
                    <a:pt x="3322" y="5964"/>
                  </a:cubicBezTo>
                  <a:cubicBezTo>
                    <a:pt x="3365" y="6087"/>
                    <a:pt x="3430" y="6200"/>
                    <a:pt x="3517" y="6298"/>
                  </a:cubicBezTo>
                  <a:cubicBezTo>
                    <a:pt x="3682" y="6129"/>
                    <a:pt x="3773" y="5925"/>
                    <a:pt x="3794" y="5689"/>
                  </a:cubicBezTo>
                  <a:close/>
                  <a:moveTo>
                    <a:pt x="3265" y="3487"/>
                  </a:moveTo>
                  <a:cubicBezTo>
                    <a:pt x="3266" y="3503"/>
                    <a:pt x="3265" y="3519"/>
                    <a:pt x="3269" y="3535"/>
                  </a:cubicBezTo>
                  <a:cubicBezTo>
                    <a:pt x="3277" y="3571"/>
                    <a:pt x="3288" y="3607"/>
                    <a:pt x="3296" y="3643"/>
                  </a:cubicBezTo>
                  <a:cubicBezTo>
                    <a:pt x="3300" y="3661"/>
                    <a:pt x="3308" y="3666"/>
                    <a:pt x="3325" y="3665"/>
                  </a:cubicBezTo>
                  <a:cubicBezTo>
                    <a:pt x="3345" y="3663"/>
                    <a:pt x="3364" y="3661"/>
                    <a:pt x="3381" y="3676"/>
                  </a:cubicBezTo>
                  <a:cubicBezTo>
                    <a:pt x="3402" y="3695"/>
                    <a:pt x="3437" y="3695"/>
                    <a:pt x="3459" y="3678"/>
                  </a:cubicBezTo>
                  <a:cubicBezTo>
                    <a:pt x="3472" y="3668"/>
                    <a:pt x="3475" y="3654"/>
                    <a:pt x="3465" y="3642"/>
                  </a:cubicBezTo>
                  <a:cubicBezTo>
                    <a:pt x="3450" y="3622"/>
                    <a:pt x="3450" y="3598"/>
                    <a:pt x="3452" y="3577"/>
                  </a:cubicBezTo>
                  <a:cubicBezTo>
                    <a:pt x="3457" y="3539"/>
                    <a:pt x="3476" y="3508"/>
                    <a:pt x="3510" y="3487"/>
                  </a:cubicBezTo>
                  <a:cubicBezTo>
                    <a:pt x="3428" y="3487"/>
                    <a:pt x="3345" y="3487"/>
                    <a:pt x="3265" y="3487"/>
                  </a:cubicBezTo>
                  <a:close/>
                  <a:moveTo>
                    <a:pt x="2546" y="2218"/>
                  </a:moveTo>
                  <a:cubicBezTo>
                    <a:pt x="2536" y="2208"/>
                    <a:pt x="2526" y="2199"/>
                    <a:pt x="2515" y="2190"/>
                  </a:cubicBezTo>
                  <a:cubicBezTo>
                    <a:pt x="2450" y="2138"/>
                    <a:pt x="2399" y="2073"/>
                    <a:pt x="2357" y="2002"/>
                  </a:cubicBezTo>
                  <a:cubicBezTo>
                    <a:pt x="2315" y="1932"/>
                    <a:pt x="2281" y="1858"/>
                    <a:pt x="2271" y="1775"/>
                  </a:cubicBezTo>
                  <a:cubicBezTo>
                    <a:pt x="2270" y="1763"/>
                    <a:pt x="2263" y="1757"/>
                    <a:pt x="2251" y="1760"/>
                  </a:cubicBezTo>
                  <a:cubicBezTo>
                    <a:pt x="2232" y="1765"/>
                    <a:pt x="2213" y="1770"/>
                    <a:pt x="2196" y="1774"/>
                  </a:cubicBezTo>
                  <a:cubicBezTo>
                    <a:pt x="2227" y="1993"/>
                    <a:pt x="2346" y="2137"/>
                    <a:pt x="2546" y="2218"/>
                  </a:cubicBezTo>
                  <a:close/>
                  <a:moveTo>
                    <a:pt x="3489" y="7720"/>
                  </a:moveTo>
                  <a:cubicBezTo>
                    <a:pt x="3491" y="7691"/>
                    <a:pt x="3493" y="7662"/>
                    <a:pt x="3495" y="7634"/>
                  </a:cubicBezTo>
                  <a:cubicBezTo>
                    <a:pt x="3498" y="7582"/>
                    <a:pt x="3500" y="7530"/>
                    <a:pt x="3503" y="7478"/>
                  </a:cubicBezTo>
                  <a:cubicBezTo>
                    <a:pt x="3506" y="7427"/>
                    <a:pt x="3509" y="7376"/>
                    <a:pt x="3511" y="7325"/>
                  </a:cubicBezTo>
                  <a:cubicBezTo>
                    <a:pt x="3514" y="7255"/>
                    <a:pt x="3518" y="7184"/>
                    <a:pt x="3519" y="7113"/>
                  </a:cubicBezTo>
                  <a:cubicBezTo>
                    <a:pt x="3520" y="6918"/>
                    <a:pt x="3519" y="6724"/>
                    <a:pt x="3519" y="6529"/>
                  </a:cubicBezTo>
                  <a:cubicBezTo>
                    <a:pt x="3519" y="6515"/>
                    <a:pt x="3516" y="6500"/>
                    <a:pt x="3514" y="6485"/>
                  </a:cubicBezTo>
                  <a:cubicBezTo>
                    <a:pt x="3510" y="6516"/>
                    <a:pt x="3509" y="6547"/>
                    <a:pt x="3507" y="6578"/>
                  </a:cubicBezTo>
                  <a:cubicBezTo>
                    <a:pt x="3502" y="6641"/>
                    <a:pt x="3496" y="6703"/>
                    <a:pt x="3491" y="6765"/>
                  </a:cubicBezTo>
                  <a:cubicBezTo>
                    <a:pt x="3488" y="6818"/>
                    <a:pt x="3485" y="6872"/>
                    <a:pt x="3483" y="6925"/>
                  </a:cubicBezTo>
                  <a:cubicBezTo>
                    <a:pt x="3480" y="6997"/>
                    <a:pt x="3476" y="7068"/>
                    <a:pt x="3475" y="7140"/>
                  </a:cubicBezTo>
                  <a:cubicBezTo>
                    <a:pt x="3475" y="7267"/>
                    <a:pt x="3477" y="7395"/>
                    <a:pt x="3479" y="7523"/>
                  </a:cubicBezTo>
                  <a:cubicBezTo>
                    <a:pt x="3480" y="7561"/>
                    <a:pt x="3481" y="7600"/>
                    <a:pt x="3483" y="7638"/>
                  </a:cubicBezTo>
                  <a:cubicBezTo>
                    <a:pt x="3484" y="7665"/>
                    <a:pt x="3487" y="7692"/>
                    <a:pt x="3489" y="7720"/>
                  </a:cubicBezTo>
                  <a:close/>
                  <a:moveTo>
                    <a:pt x="3141" y="7516"/>
                  </a:moveTo>
                  <a:cubicBezTo>
                    <a:pt x="3142" y="7514"/>
                    <a:pt x="3143" y="7512"/>
                    <a:pt x="3144" y="7510"/>
                  </a:cubicBezTo>
                  <a:cubicBezTo>
                    <a:pt x="3139" y="7507"/>
                    <a:pt x="3134" y="7503"/>
                    <a:pt x="3128" y="7500"/>
                  </a:cubicBezTo>
                  <a:cubicBezTo>
                    <a:pt x="3075" y="7473"/>
                    <a:pt x="3036" y="7432"/>
                    <a:pt x="3011" y="7378"/>
                  </a:cubicBezTo>
                  <a:cubicBezTo>
                    <a:pt x="2997" y="7349"/>
                    <a:pt x="2985" y="7319"/>
                    <a:pt x="2986" y="7286"/>
                  </a:cubicBezTo>
                  <a:cubicBezTo>
                    <a:pt x="2987" y="7256"/>
                    <a:pt x="2980" y="7222"/>
                    <a:pt x="2989" y="7195"/>
                  </a:cubicBezTo>
                  <a:cubicBezTo>
                    <a:pt x="3013" y="7123"/>
                    <a:pt x="3044" y="7054"/>
                    <a:pt x="3073" y="6984"/>
                  </a:cubicBezTo>
                  <a:cubicBezTo>
                    <a:pt x="3104" y="6912"/>
                    <a:pt x="3134" y="6840"/>
                    <a:pt x="3167" y="6769"/>
                  </a:cubicBezTo>
                  <a:cubicBezTo>
                    <a:pt x="3199" y="6700"/>
                    <a:pt x="3235" y="6632"/>
                    <a:pt x="3269" y="6564"/>
                  </a:cubicBezTo>
                  <a:cubicBezTo>
                    <a:pt x="3281" y="6539"/>
                    <a:pt x="3294" y="6515"/>
                    <a:pt x="3309" y="6487"/>
                  </a:cubicBezTo>
                  <a:cubicBezTo>
                    <a:pt x="3304" y="6490"/>
                    <a:pt x="3303" y="6490"/>
                    <a:pt x="3302" y="6491"/>
                  </a:cubicBezTo>
                  <a:cubicBezTo>
                    <a:pt x="3234" y="6581"/>
                    <a:pt x="3182" y="6681"/>
                    <a:pt x="3130" y="6780"/>
                  </a:cubicBezTo>
                  <a:cubicBezTo>
                    <a:pt x="3067" y="6899"/>
                    <a:pt x="3017" y="7022"/>
                    <a:pt x="2967" y="7147"/>
                  </a:cubicBezTo>
                  <a:cubicBezTo>
                    <a:pt x="2947" y="7198"/>
                    <a:pt x="2934" y="7250"/>
                    <a:pt x="2951" y="7305"/>
                  </a:cubicBezTo>
                  <a:cubicBezTo>
                    <a:pt x="2963" y="7345"/>
                    <a:pt x="2970" y="7387"/>
                    <a:pt x="3002" y="7418"/>
                  </a:cubicBezTo>
                  <a:cubicBezTo>
                    <a:pt x="3021" y="7436"/>
                    <a:pt x="3038" y="7458"/>
                    <a:pt x="3060" y="7474"/>
                  </a:cubicBezTo>
                  <a:cubicBezTo>
                    <a:pt x="3085" y="7491"/>
                    <a:pt x="3114" y="7502"/>
                    <a:pt x="3141" y="7516"/>
                  </a:cubicBezTo>
                  <a:close/>
                  <a:moveTo>
                    <a:pt x="4963" y="1812"/>
                  </a:moveTo>
                  <a:cubicBezTo>
                    <a:pt x="4940" y="1904"/>
                    <a:pt x="4907" y="1988"/>
                    <a:pt x="4857" y="2063"/>
                  </a:cubicBezTo>
                  <a:cubicBezTo>
                    <a:pt x="4805" y="2138"/>
                    <a:pt x="4747" y="2208"/>
                    <a:pt x="4668" y="2258"/>
                  </a:cubicBezTo>
                  <a:cubicBezTo>
                    <a:pt x="4808" y="2225"/>
                    <a:pt x="4984" y="2077"/>
                    <a:pt x="5036" y="1839"/>
                  </a:cubicBezTo>
                  <a:cubicBezTo>
                    <a:pt x="5012" y="1830"/>
                    <a:pt x="4988" y="1821"/>
                    <a:pt x="4963" y="1812"/>
                  </a:cubicBezTo>
                  <a:close/>
                  <a:moveTo>
                    <a:pt x="3737" y="6520"/>
                  </a:moveTo>
                  <a:cubicBezTo>
                    <a:pt x="3736" y="6523"/>
                    <a:pt x="3735" y="6525"/>
                    <a:pt x="3736" y="6525"/>
                  </a:cubicBezTo>
                  <a:cubicBezTo>
                    <a:pt x="3766" y="6594"/>
                    <a:pt x="3797" y="6663"/>
                    <a:pt x="3827" y="6732"/>
                  </a:cubicBezTo>
                  <a:cubicBezTo>
                    <a:pt x="3850" y="6784"/>
                    <a:pt x="3874" y="6836"/>
                    <a:pt x="3894" y="6890"/>
                  </a:cubicBezTo>
                  <a:cubicBezTo>
                    <a:pt x="3924" y="6968"/>
                    <a:pt x="3950" y="7048"/>
                    <a:pt x="3977" y="7128"/>
                  </a:cubicBezTo>
                  <a:cubicBezTo>
                    <a:pt x="3990" y="7167"/>
                    <a:pt x="4004" y="7207"/>
                    <a:pt x="4009" y="7248"/>
                  </a:cubicBezTo>
                  <a:cubicBezTo>
                    <a:pt x="4015" y="7290"/>
                    <a:pt x="4009" y="7333"/>
                    <a:pt x="3991" y="7374"/>
                  </a:cubicBezTo>
                  <a:cubicBezTo>
                    <a:pt x="3967" y="7426"/>
                    <a:pt x="3935" y="7472"/>
                    <a:pt x="3882" y="7500"/>
                  </a:cubicBezTo>
                  <a:cubicBezTo>
                    <a:pt x="3867" y="7509"/>
                    <a:pt x="3853" y="7518"/>
                    <a:pt x="3838" y="7526"/>
                  </a:cubicBezTo>
                  <a:cubicBezTo>
                    <a:pt x="3839" y="7528"/>
                    <a:pt x="3840" y="7530"/>
                    <a:pt x="3841" y="7533"/>
                  </a:cubicBezTo>
                  <a:cubicBezTo>
                    <a:pt x="3863" y="7522"/>
                    <a:pt x="3886" y="7513"/>
                    <a:pt x="3907" y="7502"/>
                  </a:cubicBezTo>
                  <a:cubicBezTo>
                    <a:pt x="3974" y="7468"/>
                    <a:pt x="4015" y="7414"/>
                    <a:pt x="4037" y="7344"/>
                  </a:cubicBezTo>
                  <a:cubicBezTo>
                    <a:pt x="4050" y="7304"/>
                    <a:pt x="4057" y="7264"/>
                    <a:pt x="4044" y="7224"/>
                  </a:cubicBezTo>
                  <a:cubicBezTo>
                    <a:pt x="4018" y="7140"/>
                    <a:pt x="3989" y="7056"/>
                    <a:pt x="3959" y="6973"/>
                  </a:cubicBezTo>
                  <a:cubicBezTo>
                    <a:pt x="3913" y="6845"/>
                    <a:pt x="3851" y="6724"/>
                    <a:pt x="3787" y="6604"/>
                  </a:cubicBezTo>
                  <a:cubicBezTo>
                    <a:pt x="3772" y="6576"/>
                    <a:pt x="3754" y="6549"/>
                    <a:pt x="3737" y="6520"/>
                  </a:cubicBezTo>
                  <a:close/>
                  <a:moveTo>
                    <a:pt x="3403" y="3103"/>
                  </a:moveTo>
                  <a:cubicBezTo>
                    <a:pt x="3569" y="2857"/>
                    <a:pt x="3499" y="2549"/>
                    <a:pt x="3339" y="2390"/>
                  </a:cubicBezTo>
                  <a:cubicBezTo>
                    <a:pt x="3452" y="2562"/>
                    <a:pt x="3493" y="2747"/>
                    <a:pt x="3442" y="2952"/>
                  </a:cubicBezTo>
                  <a:cubicBezTo>
                    <a:pt x="3430" y="2902"/>
                    <a:pt x="3422" y="2854"/>
                    <a:pt x="3408" y="2808"/>
                  </a:cubicBezTo>
                  <a:cubicBezTo>
                    <a:pt x="3394" y="2762"/>
                    <a:pt x="3374" y="2718"/>
                    <a:pt x="3357" y="2673"/>
                  </a:cubicBezTo>
                  <a:cubicBezTo>
                    <a:pt x="3354" y="2674"/>
                    <a:pt x="3351" y="2675"/>
                    <a:pt x="3349" y="2676"/>
                  </a:cubicBezTo>
                  <a:cubicBezTo>
                    <a:pt x="3389" y="2814"/>
                    <a:pt x="3403" y="2957"/>
                    <a:pt x="3403" y="3103"/>
                  </a:cubicBezTo>
                  <a:close/>
                  <a:moveTo>
                    <a:pt x="3852" y="2414"/>
                  </a:moveTo>
                  <a:cubicBezTo>
                    <a:pt x="3679" y="2579"/>
                    <a:pt x="3630" y="2891"/>
                    <a:pt x="3766" y="3108"/>
                  </a:cubicBezTo>
                  <a:cubicBezTo>
                    <a:pt x="3770" y="3060"/>
                    <a:pt x="3773" y="3012"/>
                    <a:pt x="3780" y="2965"/>
                  </a:cubicBezTo>
                  <a:cubicBezTo>
                    <a:pt x="3786" y="2917"/>
                    <a:pt x="3793" y="2869"/>
                    <a:pt x="3803" y="2822"/>
                  </a:cubicBezTo>
                  <a:cubicBezTo>
                    <a:pt x="3813" y="2776"/>
                    <a:pt x="3827" y="2732"/>
                    <a:pt x="3839" y="2687"/>
                  </a:cubicBezTo>
                  <a:cubicBezTo>
                    <a:pt x="3785" y="2768"/>
                    <a:pt x="3753" y="2858"/>
                    <a:pt x="3738" y="2954"/>
                  </a:cubicBezTo>
                  <a:cubicBezTo>
                    <a:pt x="3696" y="2757"/>
                    <a:pt x="3739" y="2578"/>
                    <a:pt x="3852" y="2414"/>
                  </a:cubicBezTo>
                  <a:close/>
                  <a:moveTo>
                    <a:pt x="3308" y="5608"/>
                  </a:moveTo>
                  <a:cubicBezTo>
                    <a:pt x="3321" y="5797"/>
                    <a:pt x="3399" y="5958"/>
                    <a:pt x="3522" y="6098"/>
                  </a:cubicBezTo>
                  <a:cubicBezTo>
                    <a:pt x="3644" y="5974"/>
                    <a:pt x="3763" y="5739"/>
                    <a:pt x="3749" y="5648"/>
                  </a:cubicBezTo>
                  <a:cubicBezTo>
                    <a:pt x="3666" y="5855"/>
                    <a:pt x="3594" y="5960"/>
                    <a:pt x="3525" y="6047"/>
                  </a:cubicBezTo>
                  <a:cubicBezTo>
                    <a:pt x="3420" y="5917"/>
                    <a:pt x="3356" y="5766"/>
                    <a:pt x="3308" y="5608"/>
                  </a:cubicBezTo>
                  <a:close/>
                  <a:moveTo>
                    <a:pt x="3883" y="6540"/>
                  </a:moveTo>
                  <a:cubicBezTo>
                    <a:pt x="3882" y="6541"/>
                    <a:pt x="3880" y="6542"/>
                    <a:pt x="3878" y="6543"/>
                  </a:cubicBezTo>
                  <a:cubicBezTo>
                    <a:pt x="3974" y="6689"/>
                    <a:pt x="4062" y="6839"/>
                    <a:pt x="4129" y="7001"/>
                  </a:cubicBezTo>
                  <a:cubicBezTo>
                    <a:pt x="4138" y="6997"/>
                    <a:pt x="4142" y="6994"/>
                    <a:pt x="4147" y="6992"/>
                  </a:cubicBezTo>
                  <a:cubicBezTo>
                    <a:pt x="4201" y="6967"/>
                    <a:pt x="4209" y="6899"/>
                    <a:pt x="4172" y="6858"/>
                  </a:cubicBezTo>
                  <a:cubicBezTo>
                    <a:pt x="4128" y="6810"/>
                    <a:pt x="4083" y="6762"/>
                    <a:pt x="4039" y="6714"/>
                  </a:cubicBezTo>
                  <a:cubicBezTo>
                    <a:pt x="4023" y="6697"/>
                    <a:pt x="4008" y="6680"/>
                    <a:pt x="3992" y="6663"/>
                  </a:cubicBezTo>
                  <a:cubicBezTo>
                    <a:pt x="3956" y="6622"/>
                    <a:pt x="3920" y="6581"/>
                    <a:pt x="3883" y="6540"/>
                  </a:cubicBezTo>
                  <a:close/>
                  <a:moveTo>
                    <a:pt x="1263" y="2193"/>
                  </a:moveTo>
                  <a:cubicBezTo>
                    <a:pt x="1150" y="2433"/>
                    <a:pt x="1294" y="2717"/>
                    <a:pt x="1517" y="2779"/>
                  </a:cubicBezTo>
                  <a:cubicBezTo>
                    <a:pt x="1424" y="2709"/>
                    <a:pt x="1361" y="2620"/>
                    <a:pt x="1315" y="2518"/>
                  </a:cubicBezTo>
                  <a:cubicBezTo>
                    <a:pt x="1269" y="2415"/>
                    <a:pt x="1252" y="2308"/>
                    <a:pt x="1263" y="2193"/>
                  </a:cubicBezTo>
                  <a:close/>
                  <a:moveTo>
                    <a:pt x="5951" y="2303"/>
                  </a:moveTo>
                  <a:cubicBezTo>
                    <a:pt x="5946" y="2538"/>
                    <a:pt x="5857" y="2726"/>
                    <a:pt x="5668" y="2868"/>
                  </a:cubicBezTo>
                  <a:cubicBezTo>
                    <a:pt x="5910" y="2795"/>
                    <a:pt x="6037" y="2533"/>
                    <a:pt x="5951" y="2303"/>
                  </a:cubicBezTo>
                  <a:close/>
                  <a:moveTo>
                    <a:pt x="2877" y="6968"/>
                  </a:moveTo>
                  <a:cubicBezTo>
                    <a:pt x="2958" y="6804"/>
                    <a:pt x="3051" y="6648"/>
                    <a:pt x="3166" y="6506"/>
                  </a:cubicBezTo>
                  <a:cubicBezTo>
                    <a:pt x="3114" y="6555"/>
                    <a:pt x="3065" y="6607"/>
                    <a:pt x="3016" y="6657"/>
                  </a:cubicBezTo>
                  <a:cubicBezTo>
                    <a:pt x="2961" y="6713"/>
                    <a:pt x="2905" y="6768"/>
                    <a:pt x="2850" y="6823"/>
                  </a:cubicBezTo>
                  <a:cubicBezTo>
                    <a:pt x="2836" y="6837"/>
                    <a:pt x="2824" y="6852"/>
                    <a:pt x="2818" y="6873"/>
                  </a:cubicBezTo>
                  <a:cubicBezTo>
                    <a:pt x="2807" y="6912"/>
                    <a:pt x="2834" y="6962"/>
                    <a:pt x="2877" y="6968"/>
                  </a:cubicBezTo>
                  <a:close/>
                  <a:moveTo>
                    <a:pt x="5794" y="5987"/>
                  </a:moveTo>
                  <a:cubicBezTo>
                    <a:pt x="5798" y="5856"/>
                    <a:pt x="5801" y="5727"/>
                    <a:pt x="5804" y="5596"/>
                  </a:cubicBezTo>
                  <a:cubicBezTo>
                    <a:pt x="5826" y="5596"/>
                    <a:pt x="5848" y="5596"/>
                    <a:pt x="5870" y="5596"/>
                  </a:cubicBezTo>
                  <a:cubicBezTo>
                    <a:pt x="5870" y="5584"/>
                    <a:pt x="5870" y="5575"/>
                    <a:pt x="5870" y="5565"/>
                  </a:cubicBezTo>
                  <a:cubicBezTo>
                    <a:pt x="5844" y="5563"/>
                    <a:pt x="5820" y="5561"/>
                    <a:pt x="5794" y="5558"/>
                  </a:cubicBezTo>
                  <a:cubicBezTo>
                    <a:pt x="5796" y="5539"/>
                    <a:pt x="5798" y="5520"/>
                    <a:pt x="5799" y="5501"/>
                  </a:cubicBezTo>
                  <a:cubicBezTo>
                    <a:pt x="5786" y="5499"/>
                    <a:pt x="5776" y="5497"/>
                    <a:pt x="5764" y="5495"/>
                  </a:cubicBezTo>
                  <a:cubicBezTo>
                    <a:pt x="5762" y="5518"/>
                    <a:pt x="5760" y="5538"/>
                    <a:pt x="5757" y="5560"/>
                  </a:cubicBezTo>
                  <a:cubicBezTo>
                    <a:pt x="5737" y="5560"/>
                    <a:pt x="5716" y="5560"/>
                    <a:pt x="5696" y="5560"/>
                  </a:cubicBezTo>
                  <a:cubicBezTo>
                    <a:pt x="5694" y="5571"/>
                    <a:pt x="5692" y="5581"/>
                    <a:pt x="5691" y="5591"/>
                  </a:cubicBezTo>
                  <a:cubicBezTo>
                    <a:pt x="5714" y="5593"/>
                    <a:pt x="5736" y="5595"/>
                    <a:pt x="5759" y="5598"/>
                  </a:cubicBezTo>
                  <a:cubicBezTo>
                    <a:pt x="5756" y="5727"/>
                    <a:pt x="5754" y="5857"/>
                    <a:pt x="5751" y="5987"/>
                  </a:cubicBezTo>
                  <a:cubicBezTo>
                    <a:pt x="5766" y="5987"/>
                    <a:pt x="5779" y="5987"/>
                    <a:pt x="5794" y="5987"/>
                  </a:cubicBezTo>
                  <a:close/>
                  <a:moveTo>
                    <a:pt x="3385" y="1211"/>
                  </a:moveTo>
                  <a:cubicBezTo>
                    <a:pt x="3547" y="1189"/>
                    <a:pt x="3708" y="1186"/>
                    <a:pt x="3870" y="1205"/>
                  </a:cubicBezTo>
                  <a:cubicBezTo>
                    <a:pt x="3870" y="1187"/>
                    <a:pt x="3870" y="1172"/>
                    <a:pt x="3870" y="1155"/>
                  </a:cubicBezTo>
                  <a:cubicBezTo>
                    <a:pt x="3808" y="1151"/>
                    <a:pt x="3747" y="1147"/>
                    <a:pt x="3686" y="1144"/>
                  </a:cubicBezTo>
                  <a:cubicBezTo>
                    <a:pt x="3598" y="1141"/>
                    <a:pt x="3510" y="1147"/>
                    <a:pt x="3423" y="1160"/>
                  </a:cubicBezTo>
                  <a:cubicBezTo>
                    <a:pt x="3377" y="1167"/>
                    <a:pt x="3382" y="1156"/>
                    <a:pt x="3384" y="1209"/>
                  </a:cubicBezTo>
                  <a:cubicBezTo>
                    <a:pt x="3384" y="1210"/>
                    <a:pt x="3385" y="1210"/>
                    <a:pt x="3385" y="1211"/>
                  </a:cubicBezTo>
                  <a:close/>
                  <a:moveTo>
                    <a:pt x="3155" y="2700"/>
                  </a:moveTo>
                  <a:cubicBezTo>
                    <a:pt x="3175" y="2846"/>
                    <a:pt x="3171" y="2992"/>
                    <a:pt x="3151" y="3139"/>
                  </a:cubicBezTo>
                  <a:cubicBezTo>
                    <a:pt x="3269" y="3058"/>
                    <a:pt x="3330" y="2887"/>
                    <a:pt x="3325" y="2799"/>
                  </a:cubicBezTo>
                  <a:cubicBezTo>
                    <a:pt x="3296" y="2882"/>
                    <a:pt x="3257" y="2958"/>
                    <a:pt x="3208" y="3030"/>
                  </a:cubicBezTo>
                  <a:cubicBezTo>
                    <a:pt x="3214" y="2916"/>
                    <a:pt x="3197" y="2806"/>
                    <a:pt x="3155" y="2700"/>
                  </a:cubicBezTo>
                  <a:close/>
                  <a:moveTo>
                    <a:pt x="2977" y="3143"/>
                  </a:moveTo>
                  <a:cubicBezTo>
                    <a:pt x="3052" y="3095"/>
                    <a:pt x="3090" y="3029"/>
                    <a:pt x="3119" y="2955"/>
                  </a:cubicBezTo>
                  <a:cubicBezTo>
                    <a:pt x="3117" y="2954"/>
                    <a:pt x="3115" y="2953"/>
                    <a:pt x="3114" y="2951"/>
                  </a:cubicBezTo>
                  <a:cubicBezTo>
                    <a:pt x="3089" y="2981"/>
                    <a:pt x="3065" y="3012"/>
                    <a:pt x="3037" y="3046"/>
                  </a:cubicBezTo>
                  <a:cubicBezTo>
                    <a:pt x="3059" y="2967"/>
                    <a:pt x="3059" y="2891"/>
                    <a:pt x="3047" y="2815"/>
                  </a:cubicBezTo>
                  <a:cubicBezTo>
                    <a:pt x="3041" y="2771"/>
                    <a:pt x="2986" y="2655"/>
                    <a:pt x="2942" y="2616"/>
                  </a:cubicBezTo>
                  <a:cubicBezTo>
                    <a:pt x="3022" y="2787"/>
                    <a:pt x="3033" y="2961"/>
                    <a:pt x="2977" y="3143"/>
                  </a:cubicBezTo>
                  <a:close/>
                  <a:moveTo>
                    <a:pt x="3858" y="2803"/>
                  </a:moveTo>
                  <a:cubicBezTo>
                    <a:pt x="3851" y="2927"/>
                    <a:pt x="3924" y="3089"/>
                    <a:pt x="4017" y="3155"/>
                  </a:cubicBezTo>
                  <a:cubicBezTo>
                    <a:pt x="4009" y="3013"/>
                    <a:pt x="4007" y="2872"/>
                    <a:pt x="4030" y="2732"/>
                  </a:cubicBezTo>
                  <a:cubicBezTo>
                    <a:pt x="3984" y="2831"/>
                    <a:pt x="3973" y="2937"/>
                    <a:pt x="3968" y="3044"/>
                  </a:cubicBezTo>
                  <a:cubicBezTo>
                    <a:pt x="3920" y="2968"/>
                    <a:pt x="3879" y="2890"/>
                    <a:pt x="3858" y="2803"/>
                  </a:cubicBezTo>
                  <a:close/>
                  <a:moveTo>
                    <a:pt x="4190" y="3166"/>
                  </a:moveTo>
                  <a:cubicBezTo>
                    <a:pt x="4147" y="2989"/>
                    <a:pt x="4163" y="2820"/>
                    <a:pt x="4240" y="2656"/>
                  </a:cubicBezTo>
                  <a:cubicBezTo>
                    <a:pt x="4138" y="2774"/>
                    <a:pt x="4104" y="2910"/>
                    <a:pt x="4136" y="3068"/>
                  </a:cubicBezTo>
                  <a:cubicBezTo>
                    <a:pt x="4110" y="3035"/>
                    <a:pt x="4088" y="3008"/>
                    <a:pt x="4066" y="2980"/>
                  </a:cubicBezTo>
                  <a:cubicBezTo>
                    <a:pt x="4083" y="3059"/>
                    <a:pt x="4127" y="3119"/>
                    <a:pt x="4190" y="3166"/>
                  </a:cubicBezTo>
                  <a:close/>
                  <a:moveTo>
                    <a:pt x="6223" y="3086"/>
                  </a:moveTo>
                  <a:cubicBezTo>
                    <a:pt x="6184" y="3175"/>
                    <a:pt x="6135" y="3249"/>
                    <a:pt x="6060" y="3306"/>
                  </a:cubicBezTo>
                  <a:cubicBezTo>
                    <a:pt x="6165" y="3281"/>
                    <a:pt x="6253" y="3185"/>
                    <a:pt x="6272" y="3079"/>
                  </a:cubicBezTo>
                  <a:cubicBezTo>
                    <a:pt x="6173" y="3021"/>
                    <a:pt x="6065" y="3000"/>
                    <a:pt x="5948" y="3013"/>
                  </a:cubicBezTo>
                  <a:cubicBezTo>
                    <a:pt x="6041" y="3038"/>
                    <a:pt x="6132" y="3062"/>
                    <a:pt x="6223" y="3086"/>
                  </a:cubicBezTo>
                  <a:close/>
                  <a:moveTo>
                    <a:pt x="5579" y="2673"/>
                  </a:moveTo>
                  <a:cubicBezTo>
                    <a:pt x="5555" y="2901"/>
                    <a:pt x="5440" y="3063"/>
                    <a:pt x="5235" y="3164"/>
                  </a:cubicBezTo>
                  <a:cubicBezTo>
                    <a:pt x="5366" y="3142"/>
                    <a:pt x="5465" y="3072"/>
                    <a:pt x="5530" y="2960"/>
                  </a:cubicBezTo>
                  <a:cubicBezTo>
                    <a:pt x="5581" y="2871"/>
                    <a:pt x="5602" y="2774"/>
                    <a:pt x="5579" y="2673"/>
                  </a:cubicBezTo>
                  <a:close/>
                  <a:moveTo>
                    <a:pt x="1613" y="2588"/>
                  </a:moveTo>
                  <a:cubicBezTo>
                    <a:pt x="1560" y="2857"/>
                    <a:pt x="1742" y="3062"/>
                    <a:pt x="1942" y="3095"/>
                  </a:cubicBezTo>
                  <a:cubicBezTo>
                    <a:pt x="1734" y="2988"/>
                    <a:pt x="1630" y="2817"/>
                    <a:pt x="1613" y="2588"/>
                  </a:cubicBezTo>
                  <a:close/>
                  <a:moveTo>
                    <a:pt x="1176" y="2860"/>
                  </a:moveTo>
                  <a:cubicBezTo>
                    <a:pt x="1109" y="2768"/>
                    <a:pt x="1055" y="2672"/>
                    <a:pt x="1028" y="2558"/>
                  </a:cubicBezTo>
                  <a:cubicBezTo>
                    <a:pt x="1075" y="2548"/>
                    <a:pt x="1123" y="2539"/>
                    <a:pt x="1176" y="2529"/>
                  </a:cubicBezTo>
                  <a:cubicBezTo>
                    <a:pt x="1109" y="2510"/>
                    <a:pt x="1047" y="2504"/>
                    <a:pt x="984" y="2531"/>
                  </a:cubicBezTo>
                  <a:cubicBezTo>
                    <a:pt x="975" y="2650"/>
                    <a:pt x="1073" y="2822"/>
                    <a:pt x="1176" y="2860"/>
                  </a:cubicBezTo>
                  <a:close/>
                  <a:moveTo>
                    <a:pt x="6005" y="2963"/>
                  </a:moveTo>
                  <a:cubicBezTo>
                    <a:pt x="6055" y="2939"/>
                    <a:pt x="6100" y="2908"/>
                    <a:pt x="6129" y="2860"/>
                  </a:cubicBezTo>
                  <a:cubicBezTo>
                    <a:pt x="6153" y="2821"/>
                    <a:pt x="6175" y="2781"/>
                    <a:pt x="6192" y="2740"/>
                  </a:cubicBezTo>
                  <a:cubicBezTo>
                    <a:pt x="6203" y="2712"/>
                    <a:pt x="6205" y="2681"/>
                    <a:pt x="6210" y="2652"/>
                  </a:cubicBezTo>
                  <a:cubicBezTo>
                    <a:pt x="6211" y="2647"/>
                    <a:pt x="6204" y="2638"/>
                    <a:pt x="6199" y="2637"/>
                  </a:cubicBezTo>
                  <a:cubicBezTo>
                    <a:pt x="6146" y="2624"/>
                    <a:pt x="6088" y="2611"/>
                    <a:pt x="6019" y="2631"/>
                  </a:cubicBezTo>
                  <a:cubicBezTo>
                    <a:pt x="6069" y="2643"/>
                    <a:pt x="6118" y="2656"/>
                    <a:pt x="6170" y="2669"/>
                  </a:cubicBezTo>
                  <a:cubicBezTo>
                    <a:pt x="6123" y="2774"/>
                    <a:pt x="6082" y="2879"/>
                    <a:pt x="6005" y="2963"/>
                  </a:cubicBezTo>
                  <a:close/>
                  <a:moveTo>
                    <a:pt x="1111" y="3205"/>
                  </a:moveTo>
                  <a:cubicBezTo>
                    <a:pt x="1034" y="3142"/>
                    <a:pt x="987" y="3064"/>
                    <a:pt x="949" y="2974"/>
                  </a:cubicBezTo>
                  <a:cubicBezTo>
                    <a:pt x="1043" y="2954"/>
                    <a:pt x="1135" y="2934"/>
                    <a:pt x="1231" y="2913"/>
                  </a:cubicBezTo>
                  <a:cubicBezTo>
                    <a:pt x="1057" y="2898"/>
                    <a:pt x="966" y="2932"/>
                    <a:pt x="902" y="2964"/>
                  </a:cubicBezTo>
                  <a:cubicBezTo>
                    <a:pt x="916" y="3071"/>
                    <a:pt x="1010" y="3174"/>
                    <a:pt x="1111" y="3205"/>
                  </a:cubicBezTo>
                  <a:close/>
                  <a:moveTo>
                    <a:pt x="4856" y="5779"/>
                  </a:moveTo>
                  <a:cubicBezTo>
                    <a:pt x="4901" y="5847"/>
                    <a:pt x="4956" y="5898"/>
                    <a:pt x="5016" y="5948"/>
                  </a:cubicBezTo>
                  <a:cubicBezTo>
                    <a:pt x="5062" y="5842"/>
                    <a:pt x="5056" y="5746"/>
                    <a:pt x="4986" y="5658"/>
                  </a:cubicBezTo>
                  <a:cubicBezTo>
                    <a:pt x="4941" y="5603"/>
                    <a:pt x="4882" y="5573"/>
                    <a:pt x="4810" y="5567"/>
                  </a:cubicBezTo>
                  <a:cubicBezTo>
                    <a:pt x="4880" y="5593"/>
                    <a:pt x="4937" y="5634"/>
                    <a:pt x="4974" y="5701"/>
                  </a:cubicBezTo>
                  <a:cubicBezTo>
                    <a:pt x="5010" y="5767"/>
                    <a:pt x="5020" y="5854"/>
                    <a:pt x="4999" y="5911"/>
                  </a:cubicBezTo>
                  <a:cubicBezTo>
                    <a:pt x="4966" y="5853"/>
                    <a:pt x="4921" y="5809"/>
                    <a:pt x="4856" y="5779"/>
                  </a:cubicBezTo>
                  <a:close/>
                  <a:moveTo>
                    <a:pt x="2038" y="5882"/>
                  </a:moveTo>
                  <a:cubicBezTo>
                    <a:pt x="2100" y="5838"/>
                    <a:pt x="2156" y="5789"/>
                    <a:pt x="2202" y="5723"/>
                  </a:cubicBezTo>
                  <a:cubicBezTo>
                    <a:pt x="2140" y="5753"/>
                    <a:pt x="2090" y="5789"/>
                    <a:pt x="2053" y="5844"/>
                  </a:cubicBezTo>
                  <a:cubicBezTo>
                    <a:pt x="2043" y="5775"/>
                    <a:pt x="2049" y="5710"/>
                    <a:pt x="2084" y="5649"/>
                  </a:cubicBezTo>
                  <a:cubicBezTo>
                    <a:pt x="2119" y="5587"/>
                    <a:pt x="2173" y="5547"/>
                    <a:pt x="2240" y="5516"/>
                  </a:cubicBezTo>
                  <a:cubicBezTo>
                    <a:pt x="2109" y="5521"/>
                    <a:pt x="1956" y="5669"/>
                    <a:pt x="2038" y="5882"/>
                  </a:cubicBezTo>
                  <a:close/>
                  <a:moveTo>
                    <a:pt x="4846" y="1966"/>
                  </a:moveTo>
                  <a:cubicBezTo>
                    <a:pt x="4870" y="1898"/>
                    <a:pt x="4831" y="1835"/>
                    <a:pt x="4779" y="1807"/>
                  </a:cubicBezTo>
                  <a:cubicBezTo>
                    <a:pt x="4725" y="1777"/>
                    <a:pt x="4651" y="1793"/>
                    <a:pt x="4629" y="1827"/>
                  </a:cubicBezTo>
                  <a:cubicBezTo>
                    <a:pt x="4710" y="1858"/>
                    <a:pt x="4781" y="1906"/>
                    <a:pt x="4846" y="1966"/>
                  </a:cubicBezTo>
                  <a:close/>
                  <a:moveTo>
                    <a:pt x="2597" y="1781"/>
                  </a:moveTo>
                  <a:cubicBezTo>
                    <a:pt x="2561" y="1740"/>
                    <a:pt x="2496" y="1734"/>
                    <a:pt x="2436" y="1762"/>
                  </a:cubicBezTo>
                  <a:cubicBezTo>
                    <a:pt x="2399" y="1779"/>
                    <a:pt x="2352" y="1856"/>
                    <a:pt x="2374" y="1912"/>
                  </a:cubicBezTo>
                  <a:cubicBezTo>
                    <a:pt x="2409" y="1887"/>
                    <a:pt x="2443" y="1860"/>
                    <a:pt x="2480" y="1838"/>
                  </a:cubicBezTo>
                  <a:cubicBezTo>
                    <a:pt x="2517" y="1816"/>
                    <a:pt x="2558" y="1800"/>
                    <a:pt x="2597" y="1781"/>
                  </a:cubicBezTo>
                  <a:close/>
                  <a:moveTo>
                    <a:pt x="4121" y="2655"/>
                  </a:moveTo>
                  <a:cubicBezTo>
                    <a:pt x="4226" y="2570"/>
                    <a:pt x="4324" y="2479"/>
                    <a:pt x="4411" y="2374"/>
                  </a:cubicBezTo>
                  <a:cubicBezTo>
                    <a:pt x="4322" y="2439"/>
                    <a:pt x="4233" y="2505"/>
                    <a:pt x="4143" y="2571"/>
                  </a:cubicBezTo>
                  <a:cubicBezTo>
                    <a:pt x="4142" y="2545"/>
                    <a:pt x="4141" y="2521"/>
                    <a:pt x="4139" y="2498"/>
                  </a:cubicBezTo>
                  <a:cubicBezTo>
                    <a:pt x="4136" y="2474"/>
                    <a:pt x="4131" y="2451"/>
                    <a:pt x="4126" y="2425"/>
                  </a:cubicBezTo>
                  <a:cubicBezTo>
                    <a:pt x="4114" y="2447"/>
                    <a:pt x="4112" y="2577"/>
                    <a:pt x="4121" y="2655"/>
                  </a:cubicBezTo>
                  <a:close/>
                  <a:moveTo>
                    <a:pt x="3051" y="2547"/>
                  </a:moveTo>
                  <a:cubicBezTo>
                    <a:pt x="2968" y="2480"/>
                    <a:pt x="2886" y="2414"/>
                    <a:pt x="2803" y="2347"/>
                  </a:cubicBezTo>
                  <a:cubicBezTo>
                    <a:pt x="2801" y="2349"/>
                    <a:pt x="2799" y="2351"/>
                    <a:pt x="2797" y="2353"/>
                  </a:cubicBezTo>
                  <a:cubicBezTo>
                    <a:pt x="2886" y="2447"/>
                    <a:pt x="2976" y="2540"/>
                    <a:pt x="3065" y="2633"/>
                  </a:cubicBezTo>
                  <a:cubicBezTo>
                    <a:pt x="3067" y="2632"/>
                    <a:pt x="3069" y="2631"/>
                    <a:pt x="3070" y="2630"/>
                  </a:cubicBezTo>
                  <a:cubicBezTo>
                    <a:pt x="3080" y="2556"/>
                    <a:pt x="3090" y="2483"/>
                    <a:pt x="3073" y="2408"/>
                  </a:cubicBezTo>
                  <a:cubicBezTo>
                    <a:pt x="3066" y="2454"/>
                    <a:pt x="3059" y="2499"/>
                    <a:pt x="3051" y="2547"/>
                  </a:cubicBezTo>
                  <a:close/>
                  <a:moveTo>
                    <a:pt x="544" y="4247"/>
                  </a:moveTo>
                  <a:cubicBezTo>
                    <a:pt x="537" y="4304"/>
                    <a:pt x="521" y="4357"/>
                    <a:pt x="478" y="4400"/>
                  </a:cubicBezTo>
                  <a:cubicBezTo>
                    <a:pt x="473" y="4405"/>
                    <a:pt x="468" y="4416"/>
                    <a:pt x="471" y="4421"/>
                  </a:cubicBezTo>
                  <a:cubicBezTo>
                    <a:pt x="483" y="4450"/>
                    <a:pt x="498" y="4478"/>
                    <a:pt x="513" y="4507"/>
                  </a:cubicBezTo>
                  <a:cubicBezTo>
                    <a:pt x="527" y="4388"/>
                    <a:pt x="582" y="4296"/>
                    <a:pt x="677" y="4231"/>
                  </a:cubicBezTo>
                  <a:cubicBezTo>
                    <a:pt x="635" y="4236"/>
                    <a:pt x="591" y="4241"/>
                    <a:pt x="544" y="4247"/>
                  </a:cubicBezTo>
                  <a:close/>
                  <a:moveTo>
                    <a:pt x="4019" y="3937"/>
                  </a:moveTo>
                  <a:cubicBezTo>
                    <a:pt x="3978" y="3986"/>
                    <a:pt x="3975" y="4045"/>
                    <a:pt x="3991" y="4106"/>
                  </a:cubicBezTo>
                  <a:cubicBezTo>
                    <a:pt x="3992" y="4110"/>
                    <a:pt x="3997" y="4115"/>
                    <a:pt x="4000" y="4115"/>
                  </a:cubicBezTo>
                  <a:cubicBezTo>
                    <a:pt x="4042" y="4111"/>
                    <a:pt x="4098" y="4086"/>
                    <a:pt x="4117" y="4038"/>
                  </a:cubicBezTo>
                  <a:cubicBezTo>
                    <a:pt x="4111" y="4034"/>
                    <a:pt x="4105" y="4032"/>
                    <a:pt x="4100" y="4027"/>
                  </a:cubicBezTo>
                  <a:cubicBezTo>
                    <a:pt x="4073" y="3997"/>
                    <a:pt x="4046" y="3967"/>
                    <a:pt x="4019" y="3937"/>
                  </a:cubicBezTo>
                  <a:close/>
                  <a:moveTo>
                    <a:pt x="5567" y="6184"/>
                  </a:moveTo>
                  <a:cubicBezTo>
                    <a:pt x="5606" y="6184"/>
                    <a:pt x="5643" y="6152"/>
                    <a:pt x="5638" y="6117"/>
                  </a:cubicBezTo>
                  <a:cubicBezTo>
                    <a:pt x="5633" y="6080"/>
                    <a:pt x="5616" y="6053"/>
                    <a:pt x="5566" y="6052"/>
                  </a:cubicBezTo>
                  <a:cubicBezTo>
                    <a:pt x="5525" y="6051"/>
                    <a:pt x="5505" y="6090"/>
                    <a:pt x="5503" y="6127"/>
                  </a:cubicBezTo>
                  <a:cubicBezTo>
                    <a:pt x="5502" y="6149"/>
                    <a:pt x="5538" y="6191"/>
                    <a:pt x="5567" y="6184"/>
                  </a:cubicBezTo>
                  <a:close/>
                  <a:moveTo>
                    <a:pt x="5996" y="3655"/>
                  </a:moveTo>
                  <a:cubicBezTo>
                    <a:pt x="6004" y="3662"/>
                    <a:pt x="6013" y="3668"/>
                    <a:pt x="6020" y="3675"/>
                  </a:cubicBezTo>
                  <a:cubicBezTo>
                    <a:pt x="6061" y="3718"/>
                    <a:pt x="6098" y="3765"/>
                    <a:pt x="6129" y="3817"/>
                  </a:cubicBezTo>
                  <a:cubicBezTo>
                    <a:pt x="6131" y="3820"/>
                    <a:pt x="6131" y="3830"/>
                    <a:pt x="6128" y="3832"/>
                  </a:cubicBezTo>
                  <a:cubicBezTo>
                    <a:pt x="6101" y="3852"/>
                    <a:pt x="6075" y="3874"/>
                    <a:pt x="6045" y="3887"/>
                  </a:cubicBezTo>
                  <a:cubicBezTo>
                    <a:pt x="6012" y="3902"/>
                    <a:pt x="5976" y="3908"/>
                    <a:pt x="5944" y="3917"/>
                  </a:cubicBezTo>
                  <a:cubicBezTo>
                    <a:pt x="6020" y="3945"/>
                    <a:pt x="6128" y="3902"/>
                    <a:pt x="6186" y="3837"/>
                  </a:cubicBezTo>
                  <a:cubicBezTo>
                    <a:pt x="6143" y="3749"/>
                    <a:pt x="6076" y="3686"/>
                    <a:pt x="5996" y="3655"/>
                  </a:cubicBezTo>
                  <a:close/>
                  <a:moveTo>
                    <a:pt x="1205" y="3818"/>
                  </a:moveTo>
                  <a:cubicBezTo>
                    <a:pt x="1127" y="3807"/>
                    <a:pt x="1060" y="3774"/>
                    <a:pt x="1006" y="3713"/>
                  </a:cubicBezTo>
                  <a:cubicBezTo>
                    <a:pt x="1029" y="3684"/>
                    <a:pt x="1050" y="3655"/>
                    <a:pt x="1075" y="3628"/>
                  </a:cubicBezTo>
                  <a:cubicBezTo>
                    <a:pt x="1099" y="3602"/>
                    <a:pt x="1126" y="3578"/>
                    <a:pt x="1151" y="3553"/>
                  </a:cubicBezTo>
                  <a:cubicBezTo>
                    <a:pt x="1081" y="3571"/>
                    <a:pt x="985" y="3666"/>
                    <a:pt x="957" y="3727"/>
                  </a:cubicBezTo>
                  <a:cubicBezTo>
                    <a:pt x="1022" y="3806"/>
                    <a:pt x="1107" y="3830"/>
                    <a:pt x="1205" y="3818"/>
                  </a:cubicBezTo>
                  <a:close/>
                  <a:moveTo>
                    <a:pt x="2907" y="2290"/>
                  </a:moveTo>
                  <a:cubicBezTo>
                    <a:pt x="2906" y="2291"/>
                    <a:pt x="2904" y="2293"/>
                    <a:pt x="2903" y="2294"/>
                  </a:cubicBezTo>
                  <a:cubicBezTo>
                    <a:pt x="2866" y="2273"/>
                    <a:pt x="2828" y="2254"/>
                    <a:pt x="2793" y="2231"/>
                  </a:cubicBezTo>
                  <a:cubicBezTo>
                    <a:pt x="2758" y="2207"/>
                    <a:pt x="2726" y="2179"/>
                    <a:pt x="2693" y="2152"/>
                  </a:cubicBezTo>
                  <a:cubicBezTo>
                    <a:pt x="2660" y="2125"/>
                    <a:pt x="2629" y="2097"/>
                    <a:pt x="2597" y="2070"/>
                  </a:cubicBezTo>
                  <a:cubicBezTo>
                    <a:pt x="2599" y="2068"/>
                    <a:pt x="2601" y="2066"/>
                    <a:pt x="2603" y="2064"/>
                  </a:cubicBezTo>
                  <a:cubicBezTo>
                    <a:pt x="2678" y="2202"/>
                    <a:pt x="2796" y="2290"/>
                    <a:pt x="2939" y="2352"/>
                  </a:cubicBezTo>
                  <a:cubicBezTo>
                    <a:pt x="2935" y="2301"/>
                    <a:pt x="2932" y="2253"/>
                    <a:pt x="2894" y="2211"/>
                  </a:cubicBezTo>
                  <a:cubicBezTo>
                    <a:pt x="2899" y="2240"/>
                    <a:pt x="2903" y="2265"/>
                    <a:pt x="2907" y="2290"/>
                  </a:cubicBezTo>
                  <a:close/>
                  <a:moveTo>
                    <a:pt x="4617" y="2093"/>
                  </a:moveTo>
                  <a:cubicBezTo>
                    <a:pt x="4529" y="2197"/>
                    <a:pt x="4422" y="2275"/>
                    <a:pt x="4295" y="2326"/>
                  </a:cubicBezTo>
                  <a:cubicBezTo>
                    <a:pt x="4298" y="2312"/>
                    <a:pt x="4300" y="2299"/>
                    <a:pt x="4303" y="2286"/>
                  </a:cubicBezTo>
                  <a:cubicBezTo>
                    <a:pt x="4306" y="2273"/>
                    <a:pt x="4309" y="2260"/>
                    <a:pt x="4312" y="2247"/>
                  </a:cubicBezTo>
                  <a:cubicBezTo>
                    <a:pt x="4310" y="2246"/>
                    <a:pt x="4308" y="2246"/>
                    <a:pt x="4306" y="2246"/>
                  </a:cubicBezTo>
                  <a:cubicBezTo>
                    <a:pt x="4276" y="2284"/>
                    <a:pt x="4269" y="2330"/>
                    <a:pt x="4267" y="2378"/>
                  </a:cubicBezTo>
                  <a:cubicBezTo>
                    <a:pt x="4441" y="2323"/>
                    <a:pt x="4584" y="2170"/>
                    <a:pt x="4617" y="2093"/>
                  </a:cubicBezTo>
                  <a:close/>
                  <a:moveTo>
                    <a:pt x="5769" y="6164"/>
                  </a:moveTo>
                  <a:cubicBezTo>
                    <a:pt x="5808" y="6164"/>
                    <a:pt x="5838" y="6136"/>
                    <a:pt x="5839" y="6098"/>
                  </a:cubicBezTo>
                  <a:cubicBezTo>
                    <a:pt x="5839" y="6065"/>
                    <a:pt x="5810" y="6036"/>
                    <a:pt x="5774" y="6036"/>
                  </a:cubicBezTo>
                  <a:cubicBezTo>
                    <a:pt x="5731" y="6036"/>
                    <a:pt x="5708" y="6067"/>
                    <a:pt x="5708" y="6097"/>
                  </a:cubicBezTo>
                  <a:cubicBezTo>
                    <a:pt x="5708" y="6131"/>
                    <a:pt x="5728" y="6168"/>
                    <a:pt x="5769" y="6164"/>
                  </a:cubicBezTo>
                  <a:close/>
                  <a:moveTo>
                    <a:pt x="5907" y="6124"/>
                  </a:moveTo>
                  <a:cubicBezTo>
                    <a:pt x="5907" y="6162"/>
                    <a:pt x="5937" y="6189"/>
                    <a:pt x="5978" y="6188"/>
                  </a:cubicBezTo>
                  <a:cubicBezTo>
                    <a:pt x="6006" y="6187"/>
                    <a:pt x="6035" y="6157"/>
                    <a:pt x="6035" y="6126"/>
                  </a:cubicBezTo>
                  <a:cubicBezTo>
                    <a:pt x="6035" y="6094"/>
                    <a:pt x="6004" y="6057"/>
                    <a:pt x="5976" y="6056"/>
                  </a:cubicBezTo>
                  <a:cubicBezTo>
                    <a:pt x="5936" y="6055"/>
                    <a:pt x="5907" y="6083"/>
                    <a:pt x="5907" y="6124"/>
                  </a:cubicBezTo>
                  <a:close/>
                  <a:moveTo>
                    <a:pt x="3586" y="991"/>
                  </a:moveTo>
                  <a:cubicBezTo>
                    <a:pt x="3588" y="990"/>
                    <a:pt x="3590" y="989"/>
                    <a:pt x="3593" y="988"/>
                  </a:cubicBezTo>
                  <a:cubicBezTo>
                    <a:pt x="3565" y="929"/>
                    <a:pt x="3562" y="866"/>
                    <a:pt x="3563" y="802"/>
                  </a:cubicBezTo>
                  <a:cubicBezTo>
                    <a:pt x="3563" y="756"/>
                    <a:pt x="3563" y="710"/>
                    <a:pt x="3563" y="664"/>
                  </a:cubicBezTo>
                  <a:cubicBezTo>
                    <a:pt x="3563" y="659"/>
                    <a:pt x="3563" y="654"/>
                    <a:pt x="3563" y="648"/>
                  </a:cubicBezTo>
                  <a:cubicBezTo>
                    <a:pt x="3565" y="610"/>
                    <a:pt x="3567" y="572"/>
                    <a:pt x="3569" y="534"/>
                  </a:cubicBezTo>
                  <a:cubicBezTo>
                    <a:pt x="3555" y="534"/>
                    <a:pt x="3546" y="534"/>
                    <a:pt x="3531" y="534"/>
                  </a:cubicBezTo>
                  <a:cubicBezTo>
                    <a:pt x="3531" y="591"/>
                    <a:pt x="3531" y="646"/>
                    <a:pt x="3531" y="702"/>
                  </a:cubicBezTo>
                  <a:cubicBezTo>
                    <a:pt x="3531" y="750"/>
                    <a:pt x="3531" y="798"/>
                    <a:pt x="3531" y="846"/>
                  </a:cubicBezTo>
                  <a:cubicBezTo>
                    <a:pt x="3531" y="862"/>
                    <a:pt x="3531" y="880"/>
                    <a:pt x="3537" y="894"/>
                  </a:cubicBezTo>
                  <a:cubicBezTo>
                    <a:pt x="3551" y="928"/>
                    <a:pt x="3569" y="959"/>
                    <a:pt x="3586" y="991"/>
                  </a:cubicBezTo>
                  <a:close/>
                  <a:moveTo>
                    <a:pt x="1294" y="4125"/>
                  </a:moveTo>
                  <a:cubicBezTo>
                    <a:pt x="1291" y="4125"/>
                    <a:pt x="1287" y="4123"/>
                    <a:pt x="1284" y="4123"/>
                  </a:cubicBezTo>
                  <a:cubicBezTo>
                    <a:pt x="1220" y="4127"/>
                    <a:pt x="1153" y="4055"/>
                    <a:pt x="1180" y="3983"/>
                  </a:cubicBezTo>
                  <a:cubicBezTo>
                    <a:pt x="1192" y="3951"/>
                    <a:pt x="1215" y="3923"/>
                    <a:pt x="1235" y="3895"/>
                  </a:cubicBezTo>
                  <a:cubicBezTo>
                    <a:pt x="1251" y="3873"/>
                    <a:pt x="1272" y="3855"/>
                    <a:pt x="1290" y="3834"/>
                  </a:cubicBezTo>
                  <a:cubicBezTo>
                    <a:pt x="1289" y="3833"/>
                    <a:pt x="1288" y="3832"/>
                    <a:pt x="1287" y="3830"/>
                  </a:cubicBezTo>
                  <a:cubicBezTo>
                    <a:pt x="1269" y="3841"/>
                    <a:pt x="1249" y="3850"/>
                    <a:pt x="1234" y="3864"/>
                  </a:cubicBezTo>
                  <a:cubicBezTo>
                    <a:pt x="1208" y="3887"/>
                    <a:pt x="1184" y="3912"/>
                    <a:pt x="1160" y="3937"/>
                  </a:cubicBezTo>
                  <a:cubicBezTo>
                    <a:pt x="1137" y="3962"/>
                    <a:pt x="1129" y="3994"/>
                    <a:pt x="1132" y="4026"/>
                  </a:cubicBezTo>
                  <a:cubicBezTo>
                    <a:pt x="1137" y="4072"/>
                    <a:pt x="1161" y="4108"/>
                    <a:pt x="1205" y="4127"/>
                  </a:cubicBezTo>
                  <a:cubicBezTo>
                    <a:pt x="1234" y="4140"/>
                    <a:pt x="1264" y="4143"/>
                    <a:pt x="1294" y="4125"/>
                  </a:cubicBezTo>
                  <a:close/>
                  <a:moveTo>
                    <a:pt x="5830" y="4223"/>
                  </a:moveTo>
                  <a:cubicBezTo>
                    <a:pt x="5858" y="4235"/>
                    <a:pt x="5885" y="4238"/>
                    <a:pt x="5915" y="4229"/>
                  </a:cubicBezTo>
                  <a:cubicBezTo>
                    <a:pt x="5990" y="4207"/>
                    <a:pt x="6013" y="4134"/>
                    <a:pt x="5991" y="4075"/>
                  </a:cubicBezTo>
                  <a:cubicBezTo>
                    <a:pt x="5973" y="4025"/>
                    <a:pt x="5936" y="3988"/>
                    <a:pt x="5895" y="3956"/>
                  </a:cubicBezTo>
                  <a:cubicBezTo>
                    <a:pt x="5880" y="3945"/>
                    <a:pt x="5865" y="3936"/>
                    <a:pt x="5850" y="3927"/>
                  </a:cubicBezTo>
                  <a:cubicBezTo>
                    <a:pt x="5852" y="3936"/>
                    <a:pt x="5856" y="3942"/>
                    <a:pt x="5861" y="3948"/>
                  </a:cubicBezTo>
                  <a:cubicBezTo>
                    <a:pt x="5887" y="3984"/>
                    <a:pt x="5915" y="4020"/>
                    <a:pt x="5941" y="4057"/>
                  </a:cubicBezTo>
                  <a:cubicBezTo>
                    <a:pt x="5956" y="4078"/>
                    <a:pt x="5959" y="4102"/>
                    <a:pt x="5956" y="4129"/>
                  </a:cubicBezTo>
                  <a:cubicBezTo>
                    <a:pt x="5951" y="4180"/>
                    <a:pt x="5882" y="4232"/>
                    <a:pt x="5830" y="4223"/>
                  </a:cubicBezTo>
                  <a:close/>
                  <a:moveTo>
                    <a:pt x="3717" y="531"/>
                  </a:moveTo>
                  <a:cubicBezTo>
                    <a:pt x="3715" y="555"/>
                    <a:pt x="3712" y="575"/>
                    <a:pt x="3711" y="596"/>
                  </a:cubicBezTo>
                  <a:cubicBezTo>
                    <a:pt x="3709" y="676"/>
                    <a:pt x="3705" y="755"/>
                    <a:pt x="3705" y="835"/>
                  </a:cubicBezTo>
                  <a:cubicBezTo>
                    <a:pt x="3705" y="875"/>
                    <a:pt x="3701" y="913"/>
                    <a:pt x="3687" y="950"/>
                  </a:cubicBezTo>
                  <a:cubicBezTo>
                    <a:pt x="3683" y="962"/>
                    <a:pt x="3679" y="974"/>
                    <a:pt x="3674" y="986"/>
                  </a:cubicBezTo>
                  <a:cubicBezTo>
                    <a:pt x="3721" y="942"/>
                    <a:pt x="3738" y="886"/>
                    <a:pt x="3739" y="825"/>
                  </a:cubicBezTo>
                  <a:cubicBezTo>
                    <a:pt x="3739" y="780"/>
                    <a:pt x="3739" y="735"/>
                    <a:pt x="3739" y="691"/>
                  </a:cubicBezTo>
                  <a:cubicBezTo>
                    <a:pt x="3739" y="640"/>
                    <a:pt x="3739" y="589"/>
                    <a:pt x="3739" y="536"/>
                  </a:cubicBezTo>
                  <a:cubicBezTo>
                    <a:pt x="3734" y="535"/>
                    <a:pt x="3726" y="533"/>
                    <a:pt x="3717" y="531"/>
                  </a:cubicBezTo>
                  <a:close/>
                  <a:moveTo>
                    <a:pt x="1124" y="3258"/>
                  </a:moveTo>
                  <a:cubicBezTo>
                    <a:pt x="1035" y="3278"/>
                    <a:pt x="961" y="3325"/>
                    <a:pt x="896" y="3388"/>
                  </a:cubicBezTo>
                  <a:cubicBezTo>
                    <a:pt x="953" y="3481"/>
                    <a:pt x="1022" y="3516"/>
                    <a:pt x="1108" y="3523"/>
                  </a:cubicBezTo>
                  <a:cubicBezTo>
                    <a:pt x="1107" y="3522"/>
                    <a:pt x="1107" y="3521"/>
                    <a:pt x="1106" y="3520"/>
                  </a:cubicBezTo>
                  <a:cubicBezTo>
                    <a:pt x="1104" y="3519"/>
                    <a:pt x="1102" y="3517"/>
                    <a:pt x="1099" y="3516"/>
                  </a:cubicBezTo>
                  <a:cubicBezTo>
                    <a:pt x="1040" y="3489"/>
                    <a:pt x="993" y="3449"/>
                    <a:pt x="958" y="3394"/>
                  </a:cubicBezTo>
                  <a:cubicBezTo>
                    <a:pt x="953" y="3385"/>
                    <a:pt x="952" y="3380"/>
                    <a:pt x="960" y="3373"/>
                  </a:cubicBezTo>
                  <a:cubicBezTo>
                    <a:pt x="988" y="3350"/>
                    <a:pt x="1015" y="3325"/>
                    <a:pt x="1044" y="3304"/>
                  </a:cubicBezTo>
                  <a:cubicBezTo>
                    <a:pt x="1069" y="3287"/>
                    <a:pt x="1098" y="3273"/>
                    <a:pt x="1124" y="3258"/>
                  </a:cubicBezTo>
                  <a:close/>
                  <a:moveTo>
                    <a:pt x="1807" y="6477"/>
                  </a:moveTo>
                  <a:cubicBezTo>
                    <a:pt x="1988" y="6472"/>
                    <a:pt x="2159" y="6422"/>
                    <a:pt x="2318" y="6327"/>
                  </a:cubicBezTo>
                  <a:cubicBezTo>
                    <a:pt x="2146" y="6377"/>
                    <a:pt x="1975" y="6427"/>
                    <a:pt x="1807" y="6477"/>
                  </a:cubicBezTo>
                  <a:close/>
                  <a:moveTo>
                    <a:pt x="4431" y="2044"/>
                  </a:moveTo>
                  <a:cubicBezTo>
                    <a:pt x="4407" y="2062"/>
                    <a:pt x="4384" y="2083"/>
                    <a:pt x="4358" y="2100"/>
                  </a:cubicBezTo>
                  <a:cubicBezTo>
                    <a:pt x="4303" y="2135"/>
                    <a:pt x="4245" y="2166"/>
                    <a:pt x="4181" y="2185"/>
                  </a:cubicBezTo>
                  <a:cubicBezTo>
                    <a:pt x="4175" y="2187"/>
                    <a:pt x="4168" y="2198"/>
                    <a:pt x="4168" y="2205"/>
                  </a:cubicBezTo>
                  <a:cubicBezTo>
                    <a:pt x="4168" y="2231"/>
                    <a:pt x="4170" y="2256"/>
                    <a:pt x="4172" y="2285"/>
                  </a:cubicBezTo>
                  <a:cubicBezTo>
                    <a:pt x="4264" y="2207"/>
                    <a:pt x="4360" y="2138"/>
                    <a:pt x="4431" y="2044"/>
                  </a:cubicBezTo>
                  <a:close/>
                  <a:moveTo>
                    <a:pt x="2796" y="2022"/>
                  </a:moveTo>
                  <a:cubicBezTo>
                    <a:pt x="2865" y="2111"/>
                    <a:pt x="2946" y="2188"/>
                    <a:pt x="3036" y="2261"/>
                  </a:cubicBezTo>
                  <a:cubicBezTo>
                    <a:pt x="3037" y="2236"/>
                    <a:pt x="3035" y="2215"/>
                    <a:pt x="3040" y="2196"/>
                  </a:cubicBezTo>
                  <a:cubicBezTo>
                    <a:pt x="3047" y="2173"/>
                    <a:pt x="3039" y="2164"/>
                    <a:pt x="3021" y="2157"/>
                  </a:cubicBezTo>
                  <a:cubicBezTo>
                    <a:pt x="2939" y="2124"/>
                    <a:pt x="2864" y="2079"/>
                    <a:pt x="2796" y="2022"/>
                  </a:cubicBezTo>
                  <a:close/>
                  <a:moveTo>
                    <a:pt x="5238" y="4524"/>
                  </a:moveTo>
                  <a:cubicBezTo>
                    <a:pt x="5208" y="4625"/>
                    <a:pt x="5092" y="4708"/>
                    <a:pt x="4953" y="4637"/>
                  </a:cubicBezTo>
                  <a:cubicBezTo>
                    <a:pt x="4987" y="4690"/>
                    <a:pt x="5053" y="4719"/>
                    <a:pt x="5118" y="4703"/>
                  </a:cubicBezTo>
                  <a:cubicBezTo>
                    <a:pt x="5200" y="4682"/>
                    <a:pt x="5246" y="4618"/>
                    <a:pt x="5238" y="4524"/>
                  </a:cubicBezTo>
                  <a:close/>
                  <a:moveTo>
                    <a:pt x="4060" y="2457"/>
                  </a:moveTo>
                  <a:cubicBezTo>
                    <a:pt x="4038" y="2472"/>
                    <a:pt x="4020" y="2483"/>
                    <a:pt x="4002" y="2496"/>
                  </a:cubicBezTo>
                  <a:cubicBezTo>
                    <a:pt x="3985" y="2509"/>
                    <a:pt x="3969" y="2524"/>
                    <a:pt x="3954" y="2537"/>
                  </a:cubicBezTo>
                  <a:cubicBezTo>
                    <a:pt x="3942" y="2471"/>
                    <a:pt x="3944" y="2401"/>
                    <a:pt x="3963" y="2331"/>
                  </a:cubicBezTo>
                  <a:cubicBezTo>
                    <a:pt x="3916" y="2411"/>
                    <a:pt x="3903" y="2549"/>
                    <a:pt x="3948" y="2650"/>
                  </a:cubicBezTo>
                  <a:cubicBezTo>
                    <a:pt x="3984" y="2588"/>
                    <a:pt x="4021" y="2525"/>
                    <a:pt x="4060" y="2457"/>
                  </a:cubicBezTo>
                  <a:close/>
                  <a:moveTo>
                    <a:pt x="6051" y="3627"/>
                  </a:moveTo>
                  <a:cubicBezTo>
                    <a:pt x="6064" y="3626"/>
                    <a:pt x="6083" y="3628"/>
                    <a:pt x="6098" y="3622"/>
                  </a:cubicBezTo>
                  <a:cubicBezTo>
                    <a:pt x="6129" y="3609"/>
                    <a:pt x="6160" y="3593"/>
                    <a:pt x="6189" y="3576"/>
                  </a:cubicBezTo>
                  <a:cubicBezTo>
                    <a:pt x="6208" y="3565"/>
                    <a:pt x="6223" y="3550"/>
                    <a:pt x="6239" y="3535"/>
                  </a:cubicBezTo>
                  <a:cubicBezTo>
                    <a:pt x="6260" y="3514"/>
                    <a:pt x="6261" y="3501"/>
                    <a:pt x="6243" y="3485"/>
                  </a:cubicBezTo>
                  <a:cubicBezTo>
                    <a:pt x="6215" y="3461"/>
                    <a:pt x="6187" y="3437"/>
                    <a:pt x="6156" y="3416"/>
                  </a:cubicBezTo>
                  <a:cubicBezTo>
                    <a:pt x="6116" y="3390"/>
                    <a:pt x="6074" y="3367"/>
                    <a:pt x="6025" y="3357"/>
                  </a:cubicBezTo>
                  <a:cubicBezTo>
                    <a:pt x="6095" y="3391"/>
                    <a:pt x="6157" y="3437"/>
                    <a:pt x="6212" y="3496"/>
                  </a:cubicBezTo>
                  <a:cubicBezTo>
                    <a:pt x="6187" y="3521"/>
                    <a:pt x="6165" y="3549"/>
                    <a:pt x="6137" y="3571"/>
                  </a:cubicBezTo>
                  <a:cubicBezTo>
                    <a:pt x="6110" y="3593"/>
                    <a:pt x="6078" y="3610"/>
                    <a:pt x="6051" y="3627"/>
                  </a:cubicBezTo>
                  <a:close/>
                  <a:moveTo>
                    <a:pt x="3245" y="2640"/>
                  </a:moveTo>
                  <a:cubicBezTo>
                    <a:pt x="3254" y="2603"/>
                    <a:pt x="3267" y="2567"/>
                    <a:pt x="3272" y="2531"/>
                  </a:cubicBezTo>
                  <a:cubicBezTo>
                    <a:pt x="3277" y="2494"/>
                    <a:pt x="3278" y="2456"/>
                    <a:pt x="3274" y="2419"/>
                  </a:cubicBezTo>
                  <a:cubicBezTo>
                    <a:pt x="3270" y="2384"/>
                    <a:pt x="3258" y="2350"/>
                    <a:pt x="3249" y="2315"/>
                  </a:cubicBezTo>
                  <a:cubicBezTo>
                    <a:pt x="3247" y="2315"/>
                    <a:pt x="3244" y="2316"/>
                    <a:pt x="3242" y="2316"/>
                  </a:cubicBezTo>
                  <a:cubicBezTo>
                    <a:pt x="3255" y="2388"/>
                    <a:pt x="3256" y="2459"/>
                    <a:pt x="3241" y="2533"/>
                  </a:cubicBezTo>
                  <a:cubicBezTo>
                    <a:pt x="3224" y="2513"/>
                    <a:pt x="3210" y="2494"/>
                    <a:pt x="3194" y="2478"/>
                  </a:cubicBezTo>
                  <a:cubicBezTo>
                    <a:pt x="3178" y="2463"/>
                    <a:pt x="3159" y="2451"/>
                    <a:pt x="3142" y="2439"/>
                  </a:cubicBezTo>
                  <a:cubicBezTo>
                    <a:pt x="3175" y="2504"/>
                    <a:pt x="3209" y="2570"/>
                    <a:pt x="3245" y="2640"/>
                  </a:cubicBezTo>
                  <a:close/>
                  <a:moveTo>
                    <a:pt x="1858" y="3970"/>
                  </a:moveTo>
                  <a:cubicBezTo>
                    <a:pt x="1833" y="4022"/>
                    <a:pt x="1859" y="4113"/>
                    <a:pt x="1943" y="4145"/>
                  </a:cubicBezTo>
                  <a:cubicBezTo>
                    <a:pt x="1992" y="4163"/>
                    <a:pt x="2088" y="4137"/>
                    <a:pt x="2105" y="4091"/>
                  </a:cubicBezTo>
                  <a:cubicBezTo>
                    <a:pt x="1978" y="4145"/>
                    <a:pt x="1871" y="4067"/>
                    <a:pt x="1858" y="3970"/>
                  </a:cubicBezTo>
                  <a:close/>
                  <a:moveTo>
                    <a:pt x="1634" y="3718"/>
                  </a:moveTo>
                  <a:cubicBezTo>
                    <a:pt x="1586" y="3783"/>
                    <a:pt x="1608" y="3875"/>
                    <a:pt x="1669" y="3919"/>
                  </a:cubicBezTo>
                  <a:cubicBezTo>
                    <a:pt x="1737" y="3968"/>
                    <a:pt x="1826" y="3944"/>
                    <a:pt x="1856" y="3908"/>
                  </a:cubicBezTo>
                  <a:cubicBezTo>
                    <a:pt x="1795" y="3928"/>
                    <a:pt x="1736" y="3918"/>
                    <a:pt x="1689" y="3878"/>
                  </a:cubicBezTo>
                  <a:cubicBezTo>
                    <a:pt x="1643" y="3838"/>
                    <a:pt x="1620" y="3783"/>
                    <a:pt x="1634" y="3718"/>
                  </a:cubicBezTo>
                  <a:close/>
                  <a:moveTo>
                    <a:pt x="2153" y="4582"/>
                  </a:moveTo>
                  <a:cubicBezTo>
                    <a:pt x="2005" y="4641"/>
                    <a:pt x="1901" y="4554"/>
                    <a:pt x="1877" y="4456"/>
                  </a:cubicBezTo>
                  <a:cubicBezTo>
                    <a:pt x="1853" y="4533"/>
                    <a:pt x="1917" y="4613"/>
                    <a:pt x="1978" y="4633"/>
                  </a:cubicBezTo>
                  <a:cubicBezTo>
                    <a:pt x="2034" y="4652"/>
                    <a:pt x="2114" y="4636"/>
                    <a:pt x="2153" y="4582"/>
                  </a:cubicBezTo>
                  <a:close/>
                  <a:moveTo>
                    <a:pt x="4210" y="7240"/>
                  </a:moveTo>
                  <a:cubicBezTo>
                    <a:pt x="4278" y="7278"/>
                    <a:pt x="4319" y="7259"/>
                    <a:pt x="4347" y="7224"/>
                  </a:cubicBezTo>
                  <a:cubicBezTo>
                    <a:pt x="4372" y="7193"/>
                    <a:pt x="4381" y="7147"/>
                    <a:pt x="4356" y="7117"/>
                  </a:cubicBezTo>
                  <a:cubicBezTo>
                    <a:pt x="4333" y="7150"/>
                    <a:pt x="4303" y="7170"/>
                    <a:pt x="4265" y="7180"/>
                  </a:cubicBezTo>
                  <a:cubicBezTo>
                    <a:pt x="4256" y="7183"/>
                    <a:pt x="4247" y="7187"/>
                    <a:pt x="4241" y="7193"/>
                  </a:cubicBezTo>
                  <a:cubicBezTo>
                    <a:pt x="4230" y="7207"/>
                    <a:pt x="4220" y="7224"/>
                    <a:pt x="4210" y="7240"/>
                  </a:cubicBezTo>
                  <a:close/>
                  <a:moveTo>
                    <a:pt x="5277" y="4055"/>
                  </a:moveTo>
                  <a:cubicBezTo>
                    <a:pt x="5225" y="4166"/>
                    <a:pt x="5142" y="4199"/>
                    <a:pt x="5026" y="4155"/>
                  </a:cubicBezTo>
                  <a:cubicBezTo>
                    <a:pt x="5054" y="4210"/>
                    <a:pt x="5131" y="4232"/>
                    <a:pt x="5188" y="4212"/>
                  </a:cubicBezTo>
                  <a:cubicBezTo>
                    <a:pt x="5257" y="4187"/>
                    <a:pt x="5292" y="4122"/>
                    <a:pt x="5277" y="4055"/>
                  </a:cubicBezTo>
                  <a:close/>
                  <a:moveTo>
                    <a:pt x="2648" y="7085"/>
                  </a:moveTo>
                  <a:cubicBezTo>
                    <a:pt x="2624" y="7106"/>
                    <a:pt x="2626" y="7153"/>
                    <a:pt x="2653" y="7192"/>
                  </a:cubicBezTo>
                  <a:cubicBezTo>
                    <a:pt x="2678" y="7227"/>
                    <a:pt x="2737" y="7241"/>
                    <a:pt x="2784" y="7211"/>
                  </a:cubicBezTo>
                  <a:cubicBezTo>
                    <a:pt x="2776" y="7194"/>
                    <a:pt x="2768" y="7177"/>
                    <a:pt x="2759" y="7161"/>
                  </a:cubicBezTo>
                  <a:cubicBezTo>
                    <a:pt x="2757" y="7157"/>
                    <a:pt x="2753" y="7153"/>
                    <a:pt x="2749" y="7152"/>
                  </a:cubicBezTo>
                  <a:cubicBezTo>
                    <a:pt x="2705" y="7145"/>
                    <a:pt x="2675" y="7117"/>
                    <a:pt x="2648" y="7085"/>
                  </a:cubicBezTo>
                  <a:close/>
                  <a:moveTo>
                    <a:pt x="3173" y="2219"/>
                  </a:moveTo>
                  <a:cubicBezTo>
                    <a:pt x="3177" y="2214"/>
                    <a:pt x="3180" y="2209"/>
                    <a:pt x="3183" y="2204"/>
                  </a:cubicBezTo>
                  <a:cubicBezTo>
                    <a:pt x="3195" y="2182"/>
                    <a:pt x="3194" y="2173"/>
                    <a:pt x="3176" y="2159"/>
                  </a:cubicBezTo>
                  <a:cubicBezTo>
                    <a:pt x="3158" y="2145"/>
                    <a:pt x="3139" y="2132"/>
                    <a:pt x="3122" y="2117"/>
                  </a:cubicBezTo>
                  <a:cubicBezTo>
                    <a:pt x="3071" y="2074"/>
                    <a:pt x="3019" y="2032"/>
                    <a:pt x="2969" y="1987"/>
                  </a:cubicBezTo>
                  <a:cubicBezTo>
                    <a:pt x="2942" y="1963"/>
                    <a:pt x="2919" y="1935"/>
                    <a:pt x="2894" y="1909"/>
                  </a:cubicBezTo>
                  <a:cubicBezTo>
                    <a:pt x="2968" y="2028"/>
                    <a:pt x="3067" y="2126"/>
                    <a:pt x="3173" y="2219"/>
                  </a:cubicBezTo>
                  <a:close/>
                  <a:moveTo>
                    <a:pt x="5506" y="3793"/>
                  </a:moveTo>
                  <a:cubicBezTo>
                    <a:pt x="5521" y="3861"/>
                    <a:pt x="5500" y="3915"/>
                    <a:pt x="5453" y="3955"/>
                  </a:cubicBezTo>
                  <a:cubicBezTo>
                    <a:pt x="5406" y="3994"/>
                    <a:pt x="5348" y="4001"/>
                    <a:pt x="5288" y="3986"/>
                  </a:cubicBezTo>
                  <a:cubicBezTo>
                    <a:pt x="5340" y="4037"/>
                    <a:pt x="5413" y="4035"/>
                    <a:pt x="5483" y="3989"/>
                  </a:cubicBezTo>
                  <a:cubicBezTo>
                    <a:pt x="5535" y="3954"/>
                    <a:pt x="5548" y="3850"/>
                    <a:pt x="5506" y="3793"/>
                  </a:cubicBezTo>
                  <a:close/>
                  <a:moveTo>
                    <a:pt x="5519" y="4399"/>
                  </a:moveTo>
                  <a:cubicBezTo>
                    <a:pt x="5513" y="4457"/>
                    <a:pt x="5492" y="4505"/>
                    <a:pt x="5450" y="4538"/>
                  </a:cubicBezTo>
                  <a:cubicBezTo>
                    <a:pt x="5408" y="4570"/>
                    <a:pt x="5360" y="4590"/>
                    <a:pt x="5301" y="4580"/>
                  </a:cubicBezTo>
                  <a:cubicBezTo>
                    <a:pt x="5357" y="4618"/>
                    <a:pt x="5429" y="4617"/>
                    <a:pt x="5492" y="4565"/>
                  </a:cubicBezTo>
                  <a:cubicBezTo>
                    <a:pt x="5526" y="4537"/>
                    <a:pt x="5543" y="4445"/>
                    <a:pt x="5519" y="4399"/>
                  </a:cubicBezTo>
                  <a:close/>
                  <a:moveTo>
                    <a:pt x="2279" y="5868"/>
                  </a:moveTo>
                  <a:cubicBezTo>
                    <a:pt x="2267" y="5813"/>
                    <a:pt x="2269" y="5759"/>
                    <a:pt x="2284" y="5706"/>
                  </a:cubicBezTo>
                  <a:cubicBezTo>
                    <a:pt x="2299" y="5652"/>
                    <a:pt x="2327" y="5606"/>
                    <a:pt x="2364" y="5565"/>
                  </a:cubicBezTo>
                  <a:cubicBezTo>
                    <a:pt x="2303" y="5610"/>
                    <a:pt x="2259" y="5669"/>
                    <a:pt x="2248" y="5745"/>
                  </a:cubicBezTo>
                  <a:cubicBezTo>
                    <a:pt x="2241" y="5797"/>
                    <a:pt x="2247" y="5850"/>
                    <a:pt x="2266" y="5904"/>
                  </a:cubicBezTo>
                  <a:cubicBezTo>
                    <a:pt x="2316" y="5853"/>
                    <a:pt x="2362" y="5805"/>
                    <a:pt x="2409" y="5756"/>
                  </a:cubicBezTo>
                  <a:cubicBezTo>
                    <a:pt x="2400" y="5754"/>
                    <a:pt x="2393" y="5754"/>
                    <a:pt x="2389" y="5757"/>
                  </a:cubicBezTo>
                  <a:cubicBezTo>
                    <a:pt x="2348" y="5789"/>
                    <a:pt x="2306" y="5820"/>
                    <a:pt x="2279" y="5868"/>
                  </a:cubicBezTo>
                  <a:close/>
                  <a:moveTo>
                    <a:pt x="1602" y="4317"/>
                  </a:moveTo>
                  <a:cubicBezTo>
                    <a:pt x="1569" y="4378"/>
                    <a:pt x="1578" y="4449"/>
                    <a:pt x="1646" y="4506"/>
                  </a:cubicBezTo>
                  <a:cubicBezTo>
                    <a:pt x="1682" y="4536"/>
                    <a:pt x="1781" y="4536"/>
                    <a:pt x="1815" y="4505"/>
                  </a:cubicBezTo>
                  <a:cubicBezTo>
                    <a:pt x="1684" y="4524"/>
                    <a:pt x="1596" y="4410"/>
                    <a:pt x="1602" y="4317"/>
                  </a:cubicBezTo>
                  <a:close/>
                  <a:moveTo>
                    <a:pt x="4313" y="1961"/>
                  </a:moveTo>
                  <a:cubicBezTo>
                    <a:pt x="4219" y="2044"/>
                    <a:pt x="4125" y="2126"/>
                    <a:pt x="4017" y="2191"/>
                  </a:cubicBezTo>
                  <a:cubicBezTo>
                    <a:pt x="4024" y="2209"/>
                    <a:pt x="4030" y="2224"/>
                    <a:pt x="4036" y="2240"/>
                  </a:cubicBezTo>
                  <a:cubicBezTo>
                    <a:pt x="4138" y="2154"/>
                    <a:pt x="4232" y="2064"/>
                    <a:pt x="4313" y="1961"/>
                  </a:cubicBezTo>
                  <a:close/>
                  <a:moveTo>
                    <a:pt x="4653" y="5793"/>
                  </a:moveTo>
                  <a:cubicBezTo>
                    <a:pt x="4651" y="5795"/>
                    <a:pt x="4650" y="5797"/>
                    <a:pt x="4648" y="5798"/>
                  </a:cubicBezTo>
                  <a:cubicBezTo>
                    <a:pt x="4692" y="5851"/>
                    <a:pt x="4737" y="5905"/>
                    <a:pt x="4782" y="5959"/>
                  </a:cubicBezTo>
                  <a:cubicBezTo>
                    <a:pt x="4813" y="5898"/>
                    <a:pt x="4817" y="5838"/>
                    <a:pt x="4803" y="5777"/>
                  </a:cubicBezTo>
                  <a:cubicBezTo>
                    <a:pt x="4790" y="5712"/>
                    <a:pt x="4740" y="5630"/>
                    <a:pt x="4711" y="5627"/>
                  </a:cubicBezTo>
                  <a:cubicBezTo>
                    <a:pt x="4776" y="5711"/>
                    <a:pt x="4804" y="5810"/>
                    <a:pt x="4776" y="5921"/>
                  </a:cubicBezTo>
                  <a:cubicBezTo>
                    <a:pt x="4757" y="5898"/>
                    <a:pt x="4740" y="5873"/>
                    <a:pt x="4719" y="5851"/>
                  </a:cubicBezTo>
                  <a:cubicBezTo>
                    <a:pt x="4699" y="5830"/>
                    <a:pt x="4675" y="5812"/>
                    <a:pt x="4653" y="5793"/>
                  </a:cubicBezTo>
                  <a:close/>
                  <a:moveTo>
                    <a:pt x="1588" y="3387"/>
                  </a:moveTo>
                  <a:cubicBezTo>
                    <a:pt x="1530" y="3418"/>
                    <a:pt x="1497" y="3501"/>
                    <a:pt x="1533" y="3570"/>
                  </a:cubicBezTo>
                  <a:cubicBezTo>
                    <a:pt x="1560" y="3623"/>
                    <a:pt x="1619" y="3664"/>
                    <a:pt x="1693" y="3643"/>
                  </a:cubicBezTo>
                  <a:cubicBezTo>
                    <a:pt x="1642" y="3628"/>
                    <a:pt x="1593" y="3607"/>
                    <a:pt x="1568" y="3548"/>
                  </a:cubicBezTo>
                  <a:cubicBezTo>
                    <a:pt x="1544" y="3491"/>
                    <a:pt x="1555" y="3440"/>
                    <a:pt x="1588" y="3387"/>
                  </a:cubicBezTo>
                  <a:close/>
                  <a:moveTo>
                    <a:pt x="5593" y="4430"/>
                  </a:moveTo>
                  <a:cubicBezTo>
                    <a:pt x="5640" y="4460"/>
                    <a:pt x="5731" y="4425"/>
                    <a:pt x="5762" y="4370"/>
                  </a:cubicBezTo>
                  <a:cubicBezTo>
                    <a:pt x="5788" y="4325"/>
                    <a:pt x="5783" y="4237"/>
                    <a:pt x="5747" y="4214"/>
                  </a:cubicBezTo>
                  <a:cubicBezTo>
                    <a:pt x="5761" y="4332"/>
                    <a:pt x="5708" y="4403"/>
                    <a:pt x="5593" y="4430"/>
                  </a:cubicBezTo>
                  <a:close/>
                  <a:moveTo>
                    <a:pt x="5483" y="3438"/>
                  </a:moveTo>
                  <a:cubicBezTo>
                    <a:pt x="5528" y="3449"/>
                    <a:pt x="5615" y="3373"/>
                    <a:pt x="5619" y="3291"/>
                  </a:cubicBezTo>
                  <a:cubicBezTo>
                    <a:pt x="5624" y="3216"/>
                    <a:pt x="5551" y="3125"/>
                    <a:pt x="5486" y="3125"/>
                  </a:cubicBezTo>
                  <a:cubicBezTo>
                    <a:pt x="5614" y="3194"/>
                    <a:pt x="5622" y="3367"/>
                    <a:pt x="5483" y="3438"/>
                  </a:cubicBezTo>
                  <a:close/>
                  <a:moveTo>
                    <a:pt x="5576" y="3478"/>
                  </a:moveTo>
                  <a:cubicBezTo>
                    <a:pt x="5607" y="3529"/>
                    <a:pt x="5609" y="3583"/>
                    <a:pt x="5585" y="3634"/>
                  </a:cubicBezTo>
                  <a:cubicBezTo>
                    <a:pt x="5560" y="3685"/>
                    <a:pt x="5516" y="3717"/>
                    <a:pt x="5455" y="3719"/>
                  </a:cubicBezTo>
                  <a:cubicBezTo>
                    <a:pt x="5521" y="3747"/>
                    <a:pt x="5584" y="3707"/>
                    <a:pt x="5611" y="3668"/>
                  </a:cubicBezTo>
                  <a:cubicBezTo>
                    <a:pt x="5649" y="3611"/>
                    <a:pt x="5639" y="3517"/>
                    <a:pt x="5576" y="3478"/>
                  </a:cubicBezTo>
                  <a:close/>
                  <a:moveTo>
                    <a:pt x="1680" y="3045"/>
                  </a:moveTo>
                  <a:cubicBezTo>
                    <a:pt x="1637" y="3049"/>
                    <a:pt x="1603" y="3071"/>
                    <a:pt x="1580" y="3105"/>
                  </a:cubicBezTo>
                  <a:cubicBezTo>
                    <a:pt x="1538" y="3166"/>
                    <a:pt x="1539" y="3231"/>
                    <a:pt x="1576" y="3294"/>
                  </a:cubicBezTo>
                  <a:cubicBezTo>
                    <a:pt x="1593" y="3324"/>
                    <a:pt x="1646" y="3357"/>
                    <a:pt x="1670" y="3353"/>
                  </a:cubicBezTo>
                  <a:cubicBezTo>
                    <a:pt x="1607" y="3317"/>
                    <a:pt x="1578" y="3261"/>
                    <a:pt x="1580" y="3195"/>
                  </a:cubicBezTo>
                  <a:cubicBezTo>
                    <a:pt x="1583" y="3128"/>
                    <a:pt x="1624" y="3080"/>
                    <a:pt x="1680" y="3045"/>
                  </a:cubicBezTo>
                  <a:close/>
                  <a:moveTo>
                    <a:pt x="1382" y="4117"/>
                  </a:moveTo>
                  <a:cubicBezTo>
                    <a:pt x="1330" y="4183"/>
                    <a:pt x="1338" y="4263"/>
                    <a:pt x="1387" y="4315"/>
                  </a:cubicBezTo>
                  <a:cubicBezTo>
                    <a:pt x="1418" y="4346"/>
                    <a:pt x="1495" y="4362"/>
                    <a:pt x="1526" y="4343"/>
                  </a:cubicBezTo>
                  <a:cubicBezTo>
                    <a:pt x="1417" y="4322"/>
                    <a:pt x="1355" y="4228"/>
                    <a:pt x="1382" y="4117"/>
                  </a:cubicBezTo>
                  <a:close/>
                  <a:moveTo>
                    <a:pt x="4735" y="6394"/>
                  </a:moveTo>
                  <a:cubicBezTo>
                    <a:pt x="4807" y="6448"/>
                    <a:pt x="5104" y="6531"/>
                    <a:pt x="5184" y="6519"/>
                  </a:cubicBezTo>
                  <a:cubicBezTo>
                    <a:pt x="5034" y="6478"/>
                    <a:pt x="4885" y="6436"/>
                    <a:pt x="4735" y="6394"/>
                  </a:cubicBezTo>
                  <a:close/>
                  <a:moveTo>
                    <a:pt x="5516" y="6444"/>
                  </a:moveTo>
                  <a:cubicBezTo>
                    <a:pt x="5519" y="6502"/>
                    <a:pt x="5587" y="6566"/>
                    <a:pt x="5678" y="6551"/>
                  </a:cubicBezTo>
                  <a:cubicBezTo>
                    <a:pt x="5728" y="6543"/>
                    <a:pt x="5780" y="6488"/>
                    <a:pt x="5781" y="6439"/>
                  </a:cubicBezTo>
                  <a:cubicBezTo>
                    <a:pt x="5703" y="6551"/>
                    <a:pt x="5578" y="6530"/>
                    <a:pt x="5516" y="6444"/>
                  </a:cubicBezTo>
                  <a:close/>
                  <a:moveTo>
                    <a:pt x="2429" y="4167"/>
                  </a:moveTo>
                  <a:cubicBezTo>
                    <a:pt x="2498" y="4211"/>
                    <a:pt x="2584" y="4191"/>
                    <a:pt x="2632" y="4125"/>
                  </a:cubicBezTo>
                  <a:cubicBezTo>
                    <a:pt x="2675" y="4066"/>
                    <a:pt x="2661" y="3970"/>
                    <a:pt x="2621" y="3940"/>
                  </a:cubicBezTo>
                  <a:cubicBezTo>
                    <a:pt x="2652" y="4006"/>
                    <a:pt x="2643" y="4067"/>
                    <a:pt x="2599" y="4116"/>
                  </a:cubicBezTo>
                  <a:cubicBezTo>
                    <a:pt x="2555" y="4164"/>
                    <a:pt x="2497" y="4186"/>
                    <a:pt x="2429" y="4167"/>
                  </a:cubicBezTo>
                  <a:close/>
                  <a:moveTo>
                    <a:pt x="4513" y="3982"/>
                  </a:moveTo>
                  <a:cubicBezTo>
                    <a:pt x="4461" y="4032"/>
                    <a:pt x="4453" y="4119"/>
                    <a:pt x="4521" y="4196"/>
                  </a:cubicBezTo>
                  <a:cubicBezTo>
                    <a:pt x="4554" y="4235"/>
                    <a:pt x="4659" y="4248"/>
                    <a:pt x="4695" y="4217"/>
                  </a:cubicBezTo>
                  <a:cubicBezTo>
                    <a:pt x="4535" y="4240"/>
                    <a:pt x="4462" y="4088"/>
                    <a:pt x="4513" y="3982"/>
                  </a:cubicBezTo>
                  <a:close/>
                  <a:moveTo>
                    <a:pt x="4229" y="5683"/>
                  </a:moveTo>
                  <a:cubicBezTo>
                    <a:pt x="4340" y="5710"/>
                    <a:pt x="4446" y="5748"/>
                    <a:pt x="4549" y="5795"/>
                  </a:cubicBezTo>
                  <a:cubicBezTo>
                    <a:pt x="4463" y="5701"/>
                    <a:pt x="4353" y="5672"/>
                    <a:pt x="4229" y="5683"/>
                  </a:cubicBezTo>
                  <a:close/>
                  <a:moveTo>
                    <a:pt x="2516" y="5743"/>
                  </a:moveTo>
                  <a:cubicBezTo>
                    <a:pt x="2625" y="5709"/>
                    <a:pt x="2732" y="5669"/>
                    <a:pt x="2846" y="5655"/>
                  </a:cubicBezTo>
                  <a:cubicBezTo>
                    <a:pt x="2723" y="5633"/>
                    <a:pt x="2613" y="5665"/>
                    <a:pt x="2516" y="5743"/>
                  </a:cubicBezTo>
                  <a:close/>
                  <a:moveTo>
                    <a:pt x="2374" y="4102"/>
                  </a:moveTo>
                  <a:cubicBezTo>
                    <a:pt x="2347" y="4146"/>
                    <a:pt x="2308" y="4168"/>
                    <a:pt x="2264" y="4175"/>
                  </a:cubicBezTo>
                  <a:cubicBezTo>
                    <a:pt x="2217" y="4184"/>
                    <a:pt x="2176" y="4167"/>
                    <a:pt x="2139" y="4136"/>
                  </a:cubicBezTo>
                  <a:cubicBezTo>
                    <a:pt x="2142" y="4169"/>
                    <a:pt x="2199" y="4219"/>
                    <a:pt x="2263" y="4212"/>
                  </a:cubicBezTo>
                  <a:cubicBezTo>
                    <a:pt x="2325" y="4206"/>
                    <a:pt x="2376" y="4158"/>
                    <a:pt x="2374" y="4102"/>
                  </a:cubicBezTo>
                  <a:close/>
                  <a:moveTo>
                    <a:pt x="4752" y="4149"/>
                  </a:moveTo>
                  <a:cubicBezTo>
                    <a:pt x="4755" y="4212"/>
                    <a:pt x="4797" y="4257"/>
                    <a:pt x="4849" y="4267"/>
                  </a:cubicBezTo>
                  <a:cubicBezTo>
                    <a:pt x="4908" y="4277"/>
                    <a:pt x="4969" y="4253"/>
                    <a:pt x="4989" y="4198"/>
                  </a:cubicBezTo>
                  <a:cubicBezTo>
                    <a:pt x="4905" y="4260"/>
                    <a:pt x="4803" y="4237"/>
                    <a:pt x="4752" y="4149"/>
                  </a:cubicBezTo>
                  <a:close/>
                  <a:moveTo>
                    <a:pt x="4481" y="5829"/>
                  </a:moveTo>
                  <a:cubicBezTo>
                    <a:pt x="4536" y="5946"/>
                    <a:pt x="4528" y="6054"/>
                    <a:pt x="4467" y="6159"/>
                  </a:cubicBezTo>
                  <a:cubicBezTo>
                    <a:pt x="4560" y="6095"/>
                    <a:pt x="4576" y="5919"/>
                    <a:pt x="4481" y="5829"/>
                  </a:cubicBezTo>
                  <a:close/>
                  <a:moveTo>
                    <a:pt x="2508" y="5681"/>
                  </a:moveTo>
                  <a:cubicBezTo>
                    <a:pt x="2552" y="5604"/>
                    <a:pt x="2602" y="5537"/>
                    <a:pt x="2679" y="5489"/>
                  </a:cubicBezTo>
                  <a:cubicBezTo>
                    <a:pt x="2589" y="5490"/>
                    <a:pt x="2503" y="5566"/>
                    <a:pt x="2508" y="5681"/>
                  </a:cubicBezTo>
                  <a:close/>
                  <a:moveTo>
                    <a:pt x="2339" y="5301"/>
                  </a:moveTo>
                  <a:cubicBezTo>
                    <a:pt x="2394" y="5403"/>
                    <a:pt x="2523" y="5399"/>
                    <a:pt x="2583" y="5325"/>
                  </a:cubicBezTo>
                  <a:cubicBezTo>
                    <a:pt x="2496" y="5353"/>
                    <a:pt x="2416" y="5350"/>
                    <a:pt x="2339" y="5301"/>
                  </a:cubicBezTo>
                  <a:close/>
                  <a:moveTo>
                    <a:pt x="4738" y="5354"/>
                  </a:moveTo>
                  <a:cubicBezTo>
                    <a:pt x="4661" y="5401"/>
                    <a:pt x="4581" y="5399"/>
                    <a:pt x="4498" y="5368"/>
                  </a:cubicBezTo>
                  <a:cubicBezTo>
                    <a:pt x="4539" y="5441"/>
                    <a:pt x="4680" y="5456"/>
                    <a:pt x="4738" y="5354"/>
                  </a:cubicBezTo>
                  <a:close/>
                  <a:moveTo>
                    <a:pt x="2570" y="5798"/>
                  </a:moveTo>
                  <a:cubicBezTo>
                    <a:pt x="2479" y="5872"/>
                    <a:pt x="2486" y="6050"/>
                    <a:pt x="2574" y="6118"/>
                  </a:cubicBezTo>
                  <a:cubicBezTo>
                    <a:pt x="2521" y="6014"/>
                    <a:pt x="2516" y="5912"/>
                    <a:pt x="2570" y="5798"/>
                  </a:cubicBezTo>
                  <a:close/>
                  <a:moveTo>
                    <a:pt x="4552" y="5721"/>
                  </a:moveTo>
                  <a:cubicBezTo>
                    <a:pt x="4562" y="5611"/>
                    <a:pt x="4474" y="5527"/>
                    <a:pt x="4395" y="5527"/>
                  </a:cubicBezTo>
                  <a:cubicBezTo>
                    <a:pt x="4460" y="5582"/>
                    <a:pt x="4520" y="5640"/>
                    <a:pt x="4552" y="5721"/>
                  </a:cubicBezTo>
                  <a:close/>
                  <a:moveTo>
                    <a:pt x="2421" y="1580"/>
                  </a:moveTo>
                  <a:cubicBezTo>
                    <a:pt x="2524" y="1595"/>
                    <a:pt x="2627" y="1594"/>
                    <a:pt x="2730" y="1586"/>
                  </a:cubicBezTo>
                  <a:cubicBezTo>
                    <a:pt x="2628" y="1560"/>
                    <a:pt x="2525" y="1552"/>
                    <a:pt x="2421" y="1580"/>
                  </a:cubicBezTo>
                  <a:close/>
                  <a:moveTo>
                    <a:pt x="2420" y="6066"/>
                  </a:moveTo>
                  <a:cubicBezTo>
                    <a:pt x="2409" y="5978"/>
                    <a:pt x="2420" y="5899"/>
                    <a:pt x="2465" y="5821"/>
                  </a:cubicBezTo>
                  <a:cubicBezTo>
                    <a:pt x="2387" y="5870"/>
                    <a:pt x="2360" y="5982"/>
                    <a:pt x="2420" y="6066"/>
                  </a:cubicBezTo>
                  <a:close/>
                  <a:moveTo>
                    <a:pt x="4622" y="6113"/>
                  </a:moveTo>
                  <a:cubicBezTo>
                    <a:pt x="4688" y="6046"/>
                    <a:pt x="4671" y="5926"/>
                    <a:pt x="4598" y="5873"/>
                  </a:cubicBezTo>
                  <a:cubicBezTo>
                    <a:pt x="4626" y="5951"/>
                    <a:pt x="4648" y="6028"/>
                    <a:pt x="4622" y="6113"/>
                  </a:cubicBezTo>
                  <a:close/>
                  <a:moveTo>
                    <a:pt x="2387" y="1441"/>
                  </a:moveTo>
                  <a:cubicBezTo>
                    <a:pt x="2502" y="1479"/>
                    <a:pt x="2614" y="1477"/>
                    <a:pt x="2727" y="1455"/>
                  </a:cubicBezTo>
                  <a:cubicBezTo>
                    <a:pt x="2615" y="1450"/>
                    <a:pt x="2503" y="1446"/>
                    <a:pt x="2387" y="1441"/>
                  </a:cubicBezTo>
                  <a:close/>
                  <a:moveTo>
                    <a:pt x="2640" y="1157"/>
                  </a:moveTo>
                  <a:cubicBezTo>
                    <a:pt x="2635" y="1226"/>
                    <a:pt x="2650" y="1296"/>
                    <a:pt x="2622" y="1364"/>
                  </a:cubicBezTo>
                  <a:cubicBezTo>
                    <a:pt x="2652" y="1351"/>
                    <a:pt x="2655" y="1349"/>
                    <a:pt x="2663" y="1321"/>
                  </a:cubicBezTo>
                  <a:cubicBezTo>
                    <a:pt x="2666" y="1308"/>
                    <a:pt x="2667" y="1294"/>
                    <a:pt x="2667" y="1280"/>
                  </a:cubicBezTo>
                  <a:cubicBezTo>
                    <a:pt x="2667" y="1239"/>
                    <a:pt x="2667" y="1198"/>
                    <a:pt x="2667" y="1157"/>
                  </a:cubicBezTo>
                  <a:cubicBezTo>
                    <a:pt x="2657" y="1157"/>
                    <a:pt x="2649" y="1157"/>
                    <a:pt x="2640" y="1157"/>
                  </a:cubicBezTo>
                  <a:close/>
                  <a:moveTo>
                    <a:pt x="4517" y="1623"/>
                  </a:moveTo>
                  <a:cubicBezTo>
                    <a:pt x="4615" y="1635"/>
                    <a:pt x="4712" y="1641"/>
                    <a:pt x="4811" y="1630"/>
                  </a:cubicBezTo>
                  <a:cubicBezTo>
                    <a:pt x="4714" y="1599"/>
                    <a:pt x="4615" y="1606"/>
                    <a:pt x="4517" y="1623"/>
                  </a:cubicBezTo>
                  <a:close/>
                  <a:moveTo>
                    <a:pt x="4512" y="1495"/>
                  </a:moveTo>
                  <a:cubicBezTo>
                    <a:pt x="4621" y="1526"/>
                    <a:pt x="4732" y="1518"/>
                    <a:pt x="4843" y="1495"/>
                  </a:cubicBezTo>
                  <a:cubicBezTo>
                    <a:pt x="4732" y="1495"/>
                    <a:pt x="4621" y="1495"/>
                    <a:pt x="4512" y="1495"/>
                  </a:cubicBezTo>
                  <a:close/>
                  <a:moveTo>
                    <a:pt x="2508" y="1359"/>
                  </a:moveTo>
                  <a:cubicBezTo>
                    <a:pt x="2508" y="1291"/>
                    <a:pt x="2508" y="1224"/>
                    <a:pt x="2508" y="1157"/>
                  </a:cubicBezTo>
                  <a:cubicBezTo>
                    <a:pt x="2496" y="1157"/>
                    <a:pt x="2488" y="1157"/>
                    <a:pt x="2475" y="1157"/>
                  </a:cubicBezTo>
                  <a:cubicBezTo>
                    <a:pt x="2475" y="1206"/>
                    <a:pt x="2474" y="1254"/>
                    <a:pt x="2476" y="1302"/>
                  </a:cubicBezTo>
                  <a:cubicBezTo>
                    <a:pt x="2477" y="1327"/>
                    <a:pt x="2486" y="1349"/>
                    <a:pt x="2508" y="1359"/>
                  </a:cubicBezTo>
                  <a:close/>
                  <a:moveTo>
                    <a:pt x="4494" y="6221"/>
                  </a:moveTo>
                  <a:cubicBezTo>
                    <a:pt x="4492" y="6221"/>
                    <a:pt x="4489" y="6221"/>
                    <a:pt x="4487" y="6222"/>
                  </a:cubicBezTo>
                  <a:cubicBezTo>
                    <a:pt x="4487" y="6236"/>
                    <a:pt x="4486" y="6251"/>
                    <a:pt x="4487" y="6265"/>
                  </a:cubicBezTo>
                  <a:cubicBezTo>
                    <a:pt x="4488" y="6285"/>
                    <a:pt x="4519" y="6309"/>
                    <a:pt x="4536" y="6303"/>
                  </a:cubicBezTo>
                  <a:cubicBezTo>
                    <a:pt x="4554" y="6297"/>
                    <a:pt x="4571" y="6290"/>
                    <a:pt x="4587" y="6280"/>
                  </a:cubicBezTo>
                  <a:cubicBezTo>
                    <a:pt x="4610" y="6265"/>
                    <a:pt x="4619" y="6223"/>
                    <a:pt x="4605" y="6199"/>
                  </a:cubicBezTo>
                  <a:cubicBezTo>
                    <a:pt x="4593" y="6238"/>
                    <a:pt x="4572" y="6268"/>
                    <a:pt x="4528" y="6276"/>
                  </a:cubicBezTo>
                  <a:cubicBezTo>
                    <a:pt x="4517" y="6257"/>
                    <a:pt x="4506" y="6239"/>
                    <a:pt x="4494" y="6221"/>
                  </a:cubicBezTo>
                  <a:close/>
                  <a:moveTo>
                    <a:pt x="4587" y="1201"/>
                  </a:moveTo>
                  <a:cubicBezTo>
                    <a:pt x="4587" y="1251"/>
                    <a:pt x="4587" y="1299"/>
                    <a:pt x="4587" y="1348"/>
                  </a:cubicBezTo>
                  <a:cubicBezTo>
                    <a:pt x="4588" y="1377"/>
                    <a:pt x="4600" y="1394"/>
                    <a:pt x="4620" y="1401"/>
                  </a:cubicBezTo>
                  <a:cubicBezTo>
                    <a:pt x="4618" y="1336"/>
                    <a:pt x="4615" y="1269"/>
                    <a:pt x="4613" y="1201"/>
                  </a:cubicBezTo>
                  <a:cubicBezTo>
                    <a:pt x="4606" y="1201"/>
                    <a:pt x="4600" y="1201"/>
                    <a:pt x="4587" y="1201"/>
                  </a:cubicBezTo>
                  <a:close/>
                  <a:moveTo>
                    <a:pt x="4748" y="1205"/>
                  </a:moveTo>
                  <a:cubicBezTo>
                    <a:pt x="4742" y="1273"/>
                    <a:pt x="4759" y="1340"/>
                    <a:pt x="4728" y="1406"/>
                  </a:cubicBezTo>
                  <a:cubicBezTo>
                    <a:pt x="4766" y="1390"/>
                    <a:pt x="4771" y="1382"/>
                    <a:pt x="4771" y="1348"/>
                  </a:cubicBezTo>
                  <a:cubicBezTo>
                    <a:pt x="4771" y="1324"/>
                    <a:pt x="4771" y="1301"/>
                    <a:pt x="4772" y="1278"/>
                  </a:cubicBezTo>
                  <a:cubicBezTo>
                    <a:pt x="4773" y="1254"/>
                    <a:pt x="4775" y="1230"/>
                    <a:pt x="4776" y="1205"/>
                  </a:cubicBezTo>
                  <a:cubicBezTo>
                    <a:pt x="4765" y="1205"/>
                    <a:pt x="4757" y="1205"/>
                    <a:pt x="4748" y="1205"/>
                  </a:cubicBezTo>
                  <a:close/>
                  <a:moveTo>
                    <a:pt x="2549" y="6180"/>
                  </a:moveTo>
                  <a:cubicBezTo>
                    <a:pt x="2540" y="6193"/>
                    <a:pt x="2530" y="6204"/>
                    <a:pt x="2525" y="6217"/>
                  </a:cubicBezTo>
                  <a:cubicBezTo>
                    <a:pt x="2517" y="6239"/>
                    <a:pt x="2502" y="6234"/>
                    <a:pt x="2490" y="6226"/>
                  </a:cubicBezTo>
                  <a:cubicBezTo>
                    <a:pt x="2476" y="6217"/>
                    <a:pt x="2463" y="6205"/>
                    <a:pt x="2452" y="6193"/>
                  </a:cubicBezTo>
                  <a:cubicBezTo>
                    <a:pt x="2444" y="6184"/>
                    <a:pt x="2441" y="6171"/>
                    <a:pt x="2433" y="6156"/>
                  </a:cubicBezTo>
                  <a:cubicBezTo>
                    <a:pt x="2431" y="6168"/>
                    <a:pt x="2426" y="6177"/>
                    <a:pt x="2428" y="6184"/>
                  </a:cubicBezTo>
                  <a:cubicBezTo>
                    <a:pt x="2434" y="6212"/>
                    <a:pt x="2443" y="6237"/>
                    <a:pt x="2472" y="6252"/>
                  </a:cubicBezTo>
                  <a:cubicBezTo>
                    <a:pt x="2491" y="6261"/>
                    <a:pt x="2523" y="6263"/>
                    <a:pt x="2537" y="6251"/>
                  </a:cubicBezTo>
                  <a:cubicBezTo>
                    <a:pt x="2555" y="6236"/>
                    <a:pt x="2561" y="6204"/>
                    <a:pt x="2549" y="6180"/>
                  </a:cubicBezTo>
                  <a:close/>
                  <a:moveTo>
                    <a:pt x="1469" y="6512"/>
                  </a:moveTo>
                  <a:cubicBezTo>
                    <a:pt x="1495" y="6565"/>
                    <a:pt x="1522" y="6615"/>
                    <a:pt x="1524" y="6675"/>
                  </a:cubicBezTo>
                  <a:cubicBezTo>
                    <a:pt x="1567" y="6621"/>
                    <a:pt x="1553" y="6541"/>
                    <a:pt x="1469" y="6512"/>
                  </a:cubicBezTo>
                  <a:close/>
                  <a:moveTo>
                    <a:pt x="1354" y="6518"/>
                  </a:moveTo>
                  <a:cubicBezTo>
                    <a:pt x="1372" y="6544"/>
                    <a:pt x="1377" y="6570"/>
                    <a:pt x="1371" y="6600"/>
                  </a:cubicBezTo>
                  <a:cubicBezTo>
                    <a:pt x="1365" y="6633"/>
                    <a:pt x="1341" y="6647"/>
                    <a:pt x="1313" y="6661"/>
                  </a:cubicBezTo>
                  <a:cubicBezTo>
                    <a:pt x="1354" y="6668"/>
                    <a:pt x="1391" y="6649"/>
                    <a:pt x="1402" y="6606"/>
                  </a:cubicBezTo>
                  <a:cubicBezTo>
                    <a:pt x="1411" y="6570"/>
                    <a:pt x="1394" y="6533"/>
                    <a:pt x="1354" y="6518"/>
                  </a:cubicBezTo>
                  <a:close/>
                  <a:moveTo>
                    <a:pt x="1199" y="6374"/>
                  </a:moveTo>
                  <a:cubicBezTo>
                    <a:pt x="1178" y="6385"/>
                    <a:pt x="1175" y="6394"/>
                    <a:pt x="1187" y="6416"/>
                  </a:cubicBezTo>
                  <a:cubicBezTo>
                    <a:pt x="1209" y="6454"/>
                    <a:pt x="1240" y="6476"/>
                    <a:pt x="1285" y="6478"/>
                  </a:cubicBezTo>
                  <a:cubicBezTo>
                    <a:pt x="1256" y="6444"/>
                    <a:pt x="1228" y="6409"/>
                    <a:pt x="1199" y="6374"/>
                  </a:cubicBezTo>
                  <a:close/>
                  <a:moveTo>
                    <a:pt x="1400" y="6464"/>
                  </a:moveTo>
                  <a:cubicBezTo>
                    <a:pt x="1468" y="6444"/>
                    <a:pt x="1495" y="6383"/>
                    <a:pt x="1471" y="6333"/>
                  </a:cubicBezTo>
                  <a:cubicBezTo>
                    <a:pt x="1447" y="6376"/>
                    <a:pt x="1425" y="6418"/>
                    <a:pt x="1400" y="6464"/>
                  </a:cubicBezTo>
                  <a:close/>
                  <a:moveTo>
                    <a:pt x="5877" y="6391"/>
                  </a:moveTo>
                  <a:cubicBezTo>
                    <a:pt x="5889" y="6348"/>
                    <a:pt x="5849" y="6302"/>
                    <a:pt x="5812" y="6299"/>
                  </a:cubicBezTo>
                  <a:cubicBezTo>
                    <a:pt x="5830" y="6328"/>
                    <a:pt x="5838" y="6358"/>
                    <a:pt x="5820" y="6391"/>
                  </a:cubicBezTo>
                  <a:cubicBezTo>
                    <a:pt x="5840" y="6391"/>
                    <a:pt x="5859" y="6391"/>
                    <a:pt x="5877" y="6391"/>
                  </a:cubicBezTo>
                  <a:close/>
                  <a:moveTo>
                    <a:pt x="2061" y="1976"/>
                  </a:moveTo>
                  <a:cubicBezTo>
                    <a:pt x="2078" y="1976"/>
                    <a:pt x="2095" y="1960"/>
                    <a:pt x="2095" y="1942"/>
                  </a:cubicBezTo>
                  <a:cubicBezTo>
                    <a:pt x="2095" y="1929"/>
                    <a:pt x="2074" y="1908"/>
                    <a:pt x="2059" y="1908"/>
                  </a:cubicBezTo>
                  <a:cubicBezTo>
                    <a:pt x="2040" y="1908"/>
                    <a:pt x="2026" y="1927"/>
                    <a:pt x="2027" y="1942"/>
                  </a:cubicBezTo>
                  <a:cubicBezTo>
                    <a:pt x="2028" y="1960"/>
                    <a:pt x="2043" y="1976"/>
                    <a:pt x="2061" y="1976"/>
                  </a:cubicBezTo>
                  <a:close/>
                  <a:moveTo>
                    <a:pt x="5158" y="2040"/>
                  </a:moveTo>
                  <a:cubicBezTo>
                    <a:pt x="5176" y="2040"/>
                    <a:pt x="5195" y="2023"/>
                    <a:pt x="5194" y="2008"/>
                  </a:cubicBezTo>
                  <a:cubicBezTo>
                    <a:pt x="5194" y="1994"/>
                    <a:pt x="5176" y="1977"/>
                    <a:pt x="5162" y="1976"/>
                  </a:cubicBezTo>
                  <a:cubicBezTo>
                    <a:pt x="5142" y="1976"/>
                    <a:pt x="5127" y="1988"/>
                    <a:pt x="5127" y="2005"/>
                  </a:cubicBezTo>
                  <a:cubicBezTo>
                    <a:pt x="5127" y="2029"/>
                    <a:pt x="5136" y="2040"/>
                    <a:pt x="5158" y="2040"/>
                  </a:cubicBezTo>
                  <a:close/>
                  <a:moveTo>
                    <a:pt x="6017" y="6301"/>
                  </a:moveTo>
                  <a:cubicBezTo>
                    <a:pt x="6012" y="6329"/>
                    <a:pt x="6006" y="6358"/>
                    <a:pt x="6001" y="6387"/>
                  </a:cubicBezTo>
                  <a:cubicBezTo>
                    <a:pt x="6019" y="6387"/>
                    <a:pt x="6038" y="6387"/>
                    <a:pt x="6057" y="6387"/>
                  </a:cubicBezTo>
                  <a:cubicBezTo>
                    <a:pt x="6059" y="6348"/>
                    <a:pt x="6036" y="6323"/>
                    <a:pt x="6017" y="6301"/>
                  </a:cubicBezTo>
                  <a:close/>
                  <a:moveTo>
                    <a:pt x="1402" y="6776"/>
                  </a:moveTo>
                  <a:cubicBezTo>
                    <a:pt x="1452" y="6753"/>
                    <a:pt x="1474" y="6703"/>
                    <a:pt x="1458" y="6649"/>
                  </a:cubicBezTo>
                  <a:cubicBezTo>
                    <a:pt x="1439" y="6692"/>
                    <a:pt x="1421" y="6732"/>
                    <a:pt x="1402" y="6776"/>
                  </a:cubicBezTo>
                  <a:close/>
                  <a:moveTo>
                    <a:pt x="1264" y="6379"/>
                  </a:moveTo>
                  <a:cubicBezTo>
                    <a:pt x="1292" y="6349"/>
                    <a:pt x="1320" y="6319"/>
                    <a:pt x="1348" y="6289"/>
                  </a:cubicBezTo>
                  <a:cubicBezTo>
                    <a:pt x="1304" y="6288"/>
                    <a:pt x="1263" y="6332"/>
                    <a:pt x="1264" y="6379"/>
                  </a:cubicBezTo>
                  <a:close/>
                  <a:moveTo>
                    <a:pt x="5916" y="6414"/>
                  </a:moveTo>
                  <a:cubicBezTo>
                    <a:pt x="5917" y="6451"/>
                    <a:pt x="5919" y="6486"/>
                    <a:pt x="5921" y="6523"/>
                  </a:cubicBezTo>
                  <a:cubicBezTo>
                    <a:pt x="5956" y="6498"/>
                    <a:pt x="5952" y="6440"/>
                    <a:pt x="5916" y="6414"/>
                  </a:cubicBezTo>
                  <a:close/>
                  <a:moveTo>
                    <a:pt x="2389" y="6221"/>
                  </a:moveTo>
                  <a:cubicBezTo>
                    <a:pt x="2376" y="6233"/>
                    <a:pt x="2366" y="6247"/>
                    <a:pt x="2352" y="6254"/>
                  </a:cubicBezTo>
                  <a:cubicBezTo>
                    <a:pt x="2339" y="6262"/>
                    <a:pt x="2322" y="6263"/>
                    <a:pt x="2307" y="6267"/>
                  </a:cubicBezTo>
                  <a:cubicBezTo>
                    <a:pt x="2322" y="6284"/>
                    <a:pt x="2340" y="6287"/>
                    <a:pt x="2358" y="6279"/>
                  </a:cubicBezTo>
                  <a:cubicBezTo>
                    <a:pt x="2385" y="6266"/>
                    <a:pt x="2393" y="6250"/>
                    <a:pt x="2389" y="6221"/>
                  </a:cubicBezTo>
                  <a:close/>
                  <a:moveTo>
                    <a:pt x="3275" y="3662"/>
                  </a:moveTo>
                  <a:cubicBezTo>
                    <a:pt x="3267" y="3629"/>
                    <a:pt x="3258" y="3596"/>
                    <a:pt x="3250" y="3561"/>
                  </a:cubicBezTo>
                  <a:cubicBezTo>
                    <a:pt x="3235" y="3600"/>
                    <a:pt x="3236" y="3635"/>
                    <a:pt x="3256" y="3668"/>
                  </a:cubicBezTo>
                  <a:cubicBezTo>
                    <a:pt x="3263" y="3666"/>
                    <a:pt x="3268" y="3664"/>
                    <a:pt x="3275" y="3662"/>
                  </a:cubicBezTo>
                  <a:close/>
                  <a:moveTo>
                    <a:pt x="4725" y="6324"/>
                  </a:moveTo>
                  <a:cubicBezTo>
                    <a:pt x="4700" y="6309"/>
                    <a:pt x="4675" y="6293"/>
                    <a:pt x="4650" y="6278"/>
                  </a:cubicBezTo>
                  <a:cubicBezTo>
                    <a:pt x="4646" y="6286"/>
                    <a:pt x="4651" y="6309"/>
                    <a:pt x="4661" y="6319"/>
                  </a:cubicBezTo>
                  <a:cubicBezTo>
                    <a:pt x="4678" y="6335"/>
                    <a:pt x="4705" y="6337"/>
                    <a:pt x="4725" y="6324"/>
                  </a:cubicBezTo>
                  <a:close/>
                  <a:moveTo>
                    <a:pt x="2774" y="4564"/>
                  </a:moveTo>
                  <a:cubicBezTo>
                    <a:pt x="2774" y="4600"/>
                    <a:pt x="2774" y="4636"/>
                    <a:pt x="2774" y="4673"/>
                  </a:cubicBezTo>
                  <a:cubicBezTo>
                    <a:pt x="2802" y="4637"/>
                    <a:pt x="2788" y="4601"/>
                    <a:pt x="2774" y="456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355" tIns="45678" rIns="91355" bIns="45678" numCol="1" anchor="t" anchorCtr="0" compatLnSpc="1">
              <a:prstTxWarp prst="textNoShape">
                <a:avLst/>
              </a:prstTxWarp>
            </a:bodyPr>
            <a:lstStyle/>
            <a:p>
              <a:pPr defTabSz="913554">
                <a:defRPr/>
              </a:pPr>
              <a:endParaRPr lang="ru-RU" sz="1799" kern="0">
                <a:solidFill>
                  <a:srgbClr val="333333"/>
                </a:solidFill>
                <a:latin typeface="Arial" panose="020B060402020202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557830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4">
            <a:extLst>
              <a:ext uri="{FF2B5EF4-FFF2-40B4-BE49-F238E27FC236}">
                <a16:creationId xmlns:a16="http://schemas.microsoft.com/office/drawing/2014/main" id="{97AFE9DA-7C1E-2A12-0F8F-DA227C9421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225" y="398463"/>
            <a:ext cx="8634413" cy="708025"/>
          </a:xfrm>
        </p:spPr>
        <p:txBody>
          <a:bodyPr/>
          <a:lstStyle/>
          <a:p>
            <a:r>
              <a:rPr lang="ru-RU" sz="2200" dirty="0"/>
              <a:t>Статус реализации проекта переработки золошлаковых отходов </a:t>
            </a:r>
            <a:r>
              <a:rPr lang="ru-RU" sz="2200" dirty="0" smtClean="0"/>
              <a:t>золоотвала Северской </a:t>
            </a:r>
            <a:r>
              <a:rPr lang="ru-RU" sz="2200" dirty="0"/>
              <a:t>ТЭЦ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5B914E4B-8133-7324-F12C-C66374EC0E91}"/>
              </a:ext>
            </a:extLst>
          </p:cNvPr>
          <p:cNvSpPr/>
          <p:nvPr/>
        </p:nvSpPr>
        <p:spPr>
          <a:xfrm>
            <a:off x="539750" y="1355872"/>
            <a:ext cx="2803525" cy="1996928"/>
          </a:xfrm>
          <a:prstGeom prst="rect">
            <a:avLst/>
          </a:prstGeom>
          <a:solidFill>
            <a:srgbClr val="293D6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0" rIns="0"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0231A56A-CE9D-10DD-935F-84763FDCEEA5}"/>
              </a:ext>
            </a:extLst>
          </p:cNvPr>
          <p:cNvSpPr txBox="1">
            <a:spLocks/>
          </p:cNvSpPr>
          <p:nvPr/>
        </p:nvSpPr>
        <p:spPr>
          <a:xfrm>
            <a:off x="657225" y="1581151"/>
            <a:ext cx="2600326" cy="1552574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lang="en-US" sz="1200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На сегодняшний день рынку можно предложить комплексное решение проблемы переполнения золоотвалов угольных ТЭЦ путем строительства комплекса установок, обеспечивающих утилизацию до 100% годового объема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cs typeface="Arial" charset="0"/>
              </a:rPr>
              <a:t>образования ЗШО</a:t>
            </a:r>
          </a:p>
        </p:txBody>
      </p:sp>
      <p:sp>
        <p:nvSpPr>
          <p:cNvPr id="6" name="Текст 2">
            <a:extLst>
              <a:ext uri="{FF2B5EF4-FFF2-40B4-BE49-F238E27FC236}">
                <a16:creationId xmlns:a16="http://schemas.microsoft.com/office/drawing/2014/main" id="{E89E76D6-0002-2894-886F-22437EA438BF}"/>
              </a:ext>
            </a:extLst>
          </p:cNvPr>
          <p:cNvSpPr txBox="1">
            <a:spLocks/>
          </p:cNvSpPr>
          <p:nvPr/>
        </p:nvSpPr>
        <p:spPr>
          <a:xfrm>
            <a:off x="5911850" y="4023532"/>
            <a:ext cx="5118100" cy="2091518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lang="en-US" sz="1200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5113" marR="0" lvl="0" indent="-265113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cs typeface="Arial" charset="0"/>
              </a:rPr>
              <a:t>Размещение на золоотвале опытной установки</a:t>
            </a:r>
          </a:p>
          <a:p>
            <a:pPr marL="265113" marR="0" lvl="0" indent="-265113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cs typeface="Arial" charset="0"/>
              </a:rPr>
              <a:t>Оценка запасов ЗШО с картами распределения компонентов по горизонту золоотвала.</a:t>
            </a:r>
          </a:p>
          <a:p>
            <a:pPr marL="265113" marR="0" lvl="0" indent="-265113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cs typeface="Arial" charset="0"/>
              </a:rPr>
              <a:t>Определение возможных получаемых продуктов и их долей</a:t>
            </a:r>
          </a:p>
          <a:p>
            <a:pPr marL="265113" marR="0" lvl="0" indent="-265113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cs typeface="Arial" charset="0"/>
              </a:rPr>
              <a:t>Проведение минералогических и физико-химических анализов смеси и продуктов переработки</a:t>
            </a:r>
          </a:p>
        </p:txBody>
      </p:sp>
      <p:sp>
        <p:nvSpPr>
          <p:cNvPr id="7" name="Текст 2">
            <a:extLst>
              <a:ext uri="{FF2B5EF4-FFF2-40B4-BE49-F238E27FC236}">
                <a16:creationId xmlns:a16="http://schemas.microsoft.com/office/drawing/2014/main" id="{CEC28A5F-9DAA-460C-55F5-D5BDB49DB5B6}"/>
              </a:ext>
            </a:extLst>
          </p:cNvPr>
          <p:cNvSpPr txBox="1">
            <a:spLocks/>
          </p:cNvSpPr>
          <p:nvPr/>
        </p:nvSpPr>
        <p:spPr>
          <a:xfrm>
            <a:off x="798492" y="3985432"/>
            <a:ext cx="4135458" cy="1958168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lang="en-US" sz="1200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5113" marR="0" lvl="0" indent="-265113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cs typeface="Arial" charset="0"/>
              </a:rPr>
              <a:t>Исследование возможного применения продуктов</a:t>
            </a:r>
          </a:p>
          <a:p>
            <a:pPr marL="265113" marR="0" lvl="0" indent="-265113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cs typeface="Arial" charset="0"/>
              </a:rPr>
              <a:t>Разработка технологи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cs typeface="Arial" charset="0"/>
              </a:rPr>
              <a:t>по переработке ЗШО под конкретные нужды заказчика</a:t>
            </a:r>
          </a:p>
          <a:p>
            <a:pPr marL="265113" marR="0" lvl="0" indent="-265113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cs typeface="Arial" charset="0"/>
              </a:rPr>
              <a:t>Эксплуатация установки, обучение рабочего персонала</a:t>
            </a:r>
          </a:p>
          <a:p>
            <a:pPr marL="265113" marR="0" lvl="0" indent="-265113" algn="l" defTabSz="914400" rtl="0" eaLnBrk="1" fontAlgn="auto" latinLnBrk="0" hangingPunct="1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charset="0"/>
                <a:cs typeface="Arial" charset="0"/>
              </a:rPr>
              <a:t>Организация сбыта продуктов переработки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DEBA4C-53FB-3EC2-F5B7-CAA3D582B5D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6673" t="4830" r="13239" b="1073"/>
          <a:stretch/>
        </p:blipFill>
        <p:spPr bwMode="auto">
          <a:xfrm>
            <a:off x="3573329" y="1355872"/>
            <a:ext cx="2227396" cy="2002439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pic>
        <p:nvPicPr>
          <p:cNvPr id="9" name="Picture 3">
            <a:extLst>
              <a:ext uri="{FF2B5EF4-FFF2-40B4-BE49-F238E27FC236}">
                <a16:creationId xmlns:a16="http://schemas.microsoft.com/office/drawing/2014/main" id="{AAE73E23-CBF5-27E9-0D90-E8B23A1C481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colorTemperature colorTemp="59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8944" t="379" r="13646" b="2690"/>
          <a:stretch/>
        </p:blipFill>
        <p:spPr bwMode="auto">
          <a:xfrm>
            <a:off x="8189595" y="1413023"/>
            <a:ext cx="1529145" cy="2006452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sp>
        <p:nvSpPr>
          <p:cNvPr id="10" name="Текст 2">
            <a:extLst>
              <a:ext uri="{FF2B5EF4-FFF2-40B4-BE49-F238E27FC236}">
                <a16:creationId xmlns:a16="http://schemas.microsoft.com/office/drawing/2014/main" id="{41462E25-4111-051C-46F7-E60288ADD5A6}"/>
              </a:ext>
            </a:extLst>
          </p:cNvPr>
          <p:cNvSpPr txBox="1">
            <a:spLocks/>
          </p:cNvSpPr>
          <p:nvPr/>
        </p:nvSpPr>
        <p:spPr>
          <a:xfrm>
            <a:off x="873124" y="3574565"/>
            <a:ext cx="6403976" cy="283060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lang="en-US" sz="1200" kern="1200" dirty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93D6D"/>
                </a:solidFill>
                <a:effectLst/>
                <a:uLnTx/>
                <a:uFillTx/>
                <a:latin typeface="Arial" charset="0"/>
                <a:cs typeface="Arial" charset="0"/>
              </a:rPr>
              <a:t>ВЫПОЛНЕННЫЕ РАБОТЫ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293D6D"/>
                </a:solidFill>
                <a:effectLst/>
                <a:uLnTx/>
                <a:uFillTx/>
                <a:latin typeface="Arial" charset="0"/>
                <a:cs typeface="Arial" charset="0"/>
              </a:rPr>
              <a:t>: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16448FDB-C2F0-249D-F8E8-168DFE01B8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r="10833"/>
          <a:stretch/>
        </p:blipFill>
        <p:spPr bwMode="auto">
          <a:xfrm>
            <a:off x="6058621" y="1436187"/>
            <a:ext cx="1713779" cy="2028603"/>
          </a:xfrm>
          <a:prstGeom prst="rect">
            <a:avLst/>
          </a:prstGeom>
          <a:noFill/>
          <a:ln w="3175">
            <a:noFill/>
            <a:miter lim="800000"/>
            <a:headEnd/>
            <a:tailEnd/>
          </a:ln>
          <a:effectLst/>
        </p:spPr>
      </p:pic>
      <p:pic>
        <p:nvPicPr>
          <p:cNvPr id="13" name="Рисунок 12" descr="Изображение выглядит как стол, внутренний, сидит, рабочий стол&#10;&#10;Автоматически созданное описание">
            <a:extLst>
              <a:ext uri="{FF2B5EF4-FFF2-40B4-BE49-F238E27FC236}">
                <a16:creationId xmlns:a16="http://schemas.microsoft.com/office/drawing/2014/main" id="{279CFFE0-98A1-FBE7-CCDA-E1F2D9634BF8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28" t="23600" r="13496" b="8234"/>
          <a:stretch/>
        </p:blipFill>
        <p:spPr>
          <a:xfrm>
            <a:off x="9925049" y="1403497"/>
            <a:ext cx="1635953" cy="19778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1975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2B7C0CF-3FB8-4BD6-B74C-90079AE8EF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Сбор и переработка золы уноса Северской ТЭЦ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42EFF23-C9BB-4129-B3CB-02A5D085743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7699" y="1125674"/>
            <a:ext cx="3596952" cy="54868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A5CB373-AE4C-4075-956E-278A5E24FDA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1103" y="1131248"/>
            <a:ext cx="3718563" cy="676715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CA261E48-9941-4703-866F-D1386F0E33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48025" y="1716995"/>
            <a:ext cx="3116300" cy="3419702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E73639D-79C4-4063-B817-AE89DD38C69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81103" y="1716995"/>
            <a:ext cx="3477288" cy="3328733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DD9AD83-FE47-4314-930E-8D6836CF9196}"/>
              </a:ext>
            </a:extLst>
          </p:cNvPr>
          <p:cNvSpPr/>
          <p:nvPr/>
        </p:nvSpPr>
        <p:spPr>
          <a:xfrm>
            <a:off x="1015095" y="5151935"/>
            <a:ext cx="442187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Установка рукавных фильтров на котлах №№ 12, 13, 14.</a:t>
            </a:r>
          </a:p>
          <a:p>
            <a:pPr algn="just"/>
            <a:r>
              <a:rPr lang="ru-RU" sz="1200" dirty="0"/>
              <a:t>Суммарная годовая выработка сухой золы к 2025 году в объеме 46,5 </a:t>
            </a:r>
            <a:r>
              <a:rPr lang="ru-RU" sz="1200" dirty="0" err="1"/>
              <a:t>тыс.тн</a:t>
            </a:r>
            <a:r>
              <a:rPr lang="ru-RU" sz="1200" dirty="0"/>
              <a:t> 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F087A44F-8B14-45F6-BDF8-AD23EE779843}"/>
              </a:ext>
            </a:extLst>
          </p:cNvPr>
          <p:cNvSpPr/>
          <p:nvPr/>
        </p:nvSpPr>
        <p:spPr>
          <a:xfrm>
            <a:off x="6524368" y="5151935"/>
            <a:ext cx="480120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/>
              <a:t>Устройство системы пневмотранспорта золы-уноса.</a:t>
            </a:r>
          </a:p>
          <a:p>
            <a:pPr algn="just"/>
            <a:r>
              <a:rPr lang="ru-RU" sz="1200" dirty="0"/>
              <a:t>Установка силосного парка для хранения и отгрузки товара потребителям</a:t>
            </a:r>
            <a:r>
              <a:rPr lang="ru-RU" sz="1200" dirty="0" smtClean="0"/>
              <a:t>.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7282012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72AD6DE-16F9-601B-62A6-B4620A0053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Применение ЗШМ Северской ТЭЦ </a:t>
            </a:r>
            <a:r>
              <a:rPr lang="ru-RU" dirty="0" smtClean="0"/>
              <a:t>(1</a:t>
            </a:r>
            <a:r>
              <a:rPr lang="en-US" dirty="0" smtClean="0"/>
              <a:t>/</a:t>
            </a:r>
            <a:r>
              <a:rPr lang="ru-RU" dirty="0" smtClean="0"/>
              <a:t>4)</a:t>
            </a:r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E0302E6-C56C-3555-D887-4027B9179FCA}"/>
              </a:ext>
            </a:extLst>
          </p:cNvPr>
          <p:cNvSpPr txBox="1"/>
          <p:nvPr/>
        </p:nvSpPr>
        <p:spPr>
          <a:xfrm>
            <a:off x="323850" y="1095375"/>
            <a:ext cx="3521285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47598F"/>
                </a:solidFill>
              </a:rPr>
              <a:t>Использование золы уноса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D7A0249-7B36-2AD2-F55C-707C9F6FE29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8625" y="1876425"/>
            <a:ext cx="3937000" cy="2952750"/>
          </a:xfrm>
          <a:prstGeom prst="rect">
            <a:avLst/>
          </a:prstGeom>
        </p:spPr>
      </p:pic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381C0FCA-B2EE-9DD7-A3F9-260963E91D1F}"/>
              </a:ext>
            </a:extLst>
          </p:cNvPr>
          <p:cNvGrpSpPr/>
          <p:nvPr/>
        </p:nvGrpSpPr>
        <p:grpSpPr>
          <a:xfrm>
            <a:off x="5128942" y="2582015"/>
            <a:ext cx="4588837" cy="1230826"/>
            <a:chOff x="7031407" y="1667612"/>
            <a:chExt cx="2483353" cy="1105533"/>
          </a:xfrm>
          <a:noFill/>
        </p:grpSpPr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B0100541-CACB-4A89-6147-194838DEB30D}"/>
                </a:ext>
              </a:extLst>
            </p:cNvPr>
            <p:cNvSpPr/>
            <p:nvPr/>
          </p:nvSpPr>
          <p:spPr>
            <a:xfrm>
              <a:off x="7031409" y="1667612"/>
              <a:ext cx="1796905" cy="2617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0" rtlCol="0" anchor="ctr"/>
            <a:lstStyle/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400" dirty="0">
                  <a:solidFill>
                    <a:srgbClr val="4B6B9B"/>
                  </a:solidFill>
                </a:rPr>
                <a:t>Легкий бетон</a:t>
              </a: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id="{E497FC11-8EC9-8BC7-434E-69283644B8CF}"/>
                </a:ext>
              </a:extLst>
            </p:cNvPr>
            <p:cNvSpPr/>
            <p:nvPr/>
          </p:nvSpPr>
          <p:spPr>
            <a:xfrm>
              <a:off x="7031409" y="1957703"/>
              <a:ext cx="1796905" cy="2617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0" rtlCol="0" anchor="ctr"/>
            <a:lstStyle/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400" dirty="0">
                  <a:solidFill>
                    <a:srgbClr val="4B6B9B"/>
                  </a:solidFill>
                </a:rPr>
                <a:t>Сухие строительные смеси</a:t>
              </a: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1F6C2FF3-8EE0-A544-7713-7C3428636362}"/>
                </a:ext>
              </a:extLst>
            </p:cNvPr>
            <p:cNvSpPr/>
            <p:nvPr/>
          </p:nvSpPr>
          <p:spPr>
            <a:xfrm>
              <a:off x="7031409" y="2247794"/>
              <a:ext cx="1796905" cy="2617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0" rtlCol="0" anchor="ctr"/>
            <a:lstStyle/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400" dirty="0" smtClean="0">
                  <a:solidFill>
                    <a:srgbClr val="4B6B9B"/>
                  </a:solidFill>
                </a:rPr>
                <a:t>Бетоны и растворы</a:t>
              </a:r>
              <a:endParaRPr lang="ru-RU" sz="1400" dirty="0">
                <a:solidFill>
                  <a:srgbClr val="4B6B9B"/>
                </a:solidFill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00C64957-A3CA-EFC2-44D4-114C08761172}"/>
                </a:ext>
              </a:extLst>
            </p:cNvPr>
            <p:cNvSpPr/>
            <p:nvPr/>
          </p:nvSpPr>
          <p:spPr>
            <a:xfrm>
              <a:off x="7031407" y="2511424"/>
              <a:ext cx="2483353" cy="2617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0" rtlCol="0" anchor="ctr"/>
            <a:lstStyle/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400" dirty="0">
                  <a:solidFill>
                    <a:srgbClr val="4B6B9B"/>
                  </a:solidFill>
                </a:rPr>
                <a:t>Безцементные (геополимерные) вяжущие</a:t>
              </a:r>
            </a:p>
          </p:txBody>
        </p:sp>
      </p:grpSp>
      <p:cxnSp>
        <p:nvCxnSpPr>
          <p:cNvPr id="16" name="Прямая соединительная линия 27">
            <a:extLst>
              <a:ext uri="{FF2B5EF4-FFF2-40B4-BE49-F238E27FC236}">
                <a16:creationId xmlns:a16="http://schemas.microsoft.com/office/drawing/2014/main" id="{496F4455-0D49-82C3-D167-B7154C85EF2E}"/>
              </a:ext>
            </a:extLst>
          </p:cNvPr>
          <p:cNvCxnSpPr>
            <a:cxnSpLocks/>
            <a:endCxn id="12" idx="1"/>
          </p:cNvCxnSpPr>
          <p:nvPr/>
        </p:nvCxnSpPr>
        <p:spPr>
          <a:xfrm>
            <a:off x="4462140" y="3174600"/>
            <a:ext cx="666806" cy="199043"/>
          </a:xfrm>
          <a:prstGeom prst="curvedConnector3">
            <a:avLst>
              <a:gd name="adj1" fmla="val 50000"/>
            </a:avLst>
          </a:prstGeom>
          <a:ln cap="rnd" cmpd="sng">
            <a:solidFill>
              <a:srgbClr val="47598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29">
            <a:extLst>
              <a:ext uri="{FF2B5EF4-FFF2-40B4-BE49-F238E27FC236}">
                <a16:creationId xmlns:a16="http://schemas.microsoft.com/office/drawing/2014/main" id="{48985693-B0EC-CEEA-D2A6-4F71AAAA856F}"/>
              </a:ext>
            </a:extLst>
          </p:cNvPr>
          <p:cNvCxnSpPr>
            <a:cxnSpLocks/>
            <a:endCxn id="11" idx="1"/>
          </p:cNvCxnSpPr>
          <p:nvPr/>
        </p:nvCxnSpPr>
        <p:spPr>
          <a:xfrm flipV="1">
            <a:off x="4462140" y="3050675"/>
            <a:ext cx="666806" cy="123925"/>
          </a:xfrm>
          <a:prstGeom prst="curvedConnector3">
            <a:avLst>
              <a:gd name="adj1" fmla="val 50000"/>
            </a:avLst>
          </a:prstGeom>
          <a:ln cap="rnd" cmpd="sng">
            <a:solidFill>
              <a:srgbClr val="47598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29">
            <a:extLst>
              <a:ext uri="{FF2B5EF4-FFF2-40B4-BE49-F238E27FC236}">
                <a16:creationId xmlns:a16="http://schemas.microsoft.com/office/drawing/2014/main" id="{4251FCA0-1E0A-9532-1DD4-5B1CC8A69523}"/>
              </a:ext>
            </a:extLst>
          </p:cNvPr>
          <p:cNvCxnSpPr>
            <a:cxnSpLocks/>
            <a:endCxn id="10" idx="1"/>
          </p:cNvCxnSpPr>
          <p:nvPr/>
        </p:nvCxnSpPr>
        <p:spPr>
          <a:xfrm flipV="1">
            <a:off x="4462140" y="2727707"/>
            <a:ext cx="666806" cy="446893"/>
          </a:xfrm>
          <a:prstGeom prst="curvedConnector3">
            <a:avLst>
              <a:gd name="adj1" fmla="val 50000"/>
            </a:avLst>
          </a:prstGeom>
          <a:ln cap="rnd" cmpd="sng">
            <a:solidFill>
              <a:srgbClr val="47598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27">
            <a:extLst>
              <a:ext uri="{FF2B5EF4-FFF2-40B4-BE49-F238E27FC236}">
                <a16:creationId xmlns:a16="http://schemas.microsoft.com/office/drawing/2014/main" id="{BE9ED1FA-5319-50AC-AC9E-3CE1519127F2}"/>
              </a:ext>
            </a:extLst>
          </p:cNvPr>
          <p:cNvCxnSpPr>
            <a:cxnSpLocks/>
          </p:cNvCxnSpPr>
          <p:nvPr/>
        </p:nvCxnSpPr>
        <p:spPr>
          <a:xfrm>
            <a:off x="4457700" y="3181350"/>
            <a:ext cx="657225" cy="476250"/>
          </a:xfrm>
          <a:prstGeom prst="curvedConnector3">
            <a:avLst>
              <a:gd name="adj1" fmla="val 50000"/>
            </a:avLst>
          </a:prstGeom>
          <a:ln cap="rnd" cmpd="sng">
            <a:solidFill>
              <a:srgbClr val="47598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29B3F022-11CB-5FED-5570-9E2028B926E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72400" y="1095375"/>
            <a:ext cx="3324225" cy="2216150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E92EE04-B0D4-FAC8-3FAB-CB666A9FE59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29500" y="3943349"/>
            <a:ext cx="3467494" cy="1948785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FDED3A6B-3FE7-83A4-E9E1-D552F931ECE8}"/>
              </a:ext>
            </a:extLst>
          </p:cNvPr>
          <p:cNvSpPr txBox="1"/>
          <p:nvPr/>
        </p:nvSpPr>
        <p:spPr>
          <a:xfrm>
            <a:off x="542925" y="5810250"/>
            <a:ext cx="795551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/>
              <a:t>*Зола уноса угольных ТЭС является заменителем цементного (клинкерного) вяжущего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6A1A0F6-B508-94E2-F6A7-5E765977E886}"/>
              </a:ext>
            </a:extLst>
          </p:cNvPr>
          <p:cNvSpPr txBox="1"/>
          <p:nvPr/>
        </p:nvSpPr>
        <p:spPr>
          <a:xfrm>
            <a:off x="542925" y="5164314"/>
            <a:ext cx="691515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/>
              <a:t>Суммарная годовая выработка сухой золы Северской ТЭЦ к 2025 году планируется в объеме 46,5 </a:t>
            </a:r>
            <a:r>
              <a:rPr lang="ru-RU" sz="1400" dirty="0" err="1"/>
              <a:t>тыс.тн</a:t>
            </a:r>
            <a:r>
              <a:rPr lang="ru-RU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503311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4350" y="476385"/>
            <a:ext cx="8634187" cy="707072"/>
          </a:xfrm>
        </p:spPr>
        <p:txBody>
          <a:bodyPr/>
          <a:lstStyle/>
          <a:p>
            <a:r>
              <a:rPr lang="ru-RU" dirty="0"/>
              <a:t>Применение ЗШМ Северской ТЭЦ </a:t>
            </a:r>
            <a:r>
              <a:rPr lang="ru-RU" dirty="0" smtClean="0"/>
              <a:t>(2</a:t>
            </a:r>
            <a:r>
              <a:rPr lang="en-US" dirty="0" smtClean="0"/>
              <a:t>/</a:t>
            </a:r>
            <a:r>
              <a:rPr lang="ru-RU" dirty="0" smtClean="0"/>
              <a:t>4)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29FFDCB-2005-14CF-4AE0-D80DB6DD65E8}"/>
              </a:ext>
            </a:extLst>
          </p:cNvPr>
          <p:cNvSpPr txBox="1"/>
          <p:nvPr/>
        </p:nvSpPr>
        <p:spPr>
          <a:xfrm>
            <a:off x="514350" y="1047750"/>
            <a:ext cx="8900835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47598F"/>
                </a:solidFill>
              </a:rPr>
              <a:t>Использование золошлаковых материалов </a:t>
            </a:r>
            <a:r>
              <a:rPr lang="ru-RU" b="1" dirty="0" smtClean="0">
                <a:solidFill>
                  <a:srgbClr val="47598F"/>
                </a:solidFill>
              </a:rPr>
              <a:t>в планировочных решениях</a:t>
            </a:r>
            <a:endParaRPr lang="ru-RU" b="1" dirty="0">
              <a:solidFill>
                <a:srgbClr val="47598F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/>
          <a:srcRect l="55338" t="17748" r="12635" b="8979"/>
          <a:stretch/>
        </p:blipFill>
        <p:spPr>
          <a:xfrm>
            <a:off x="262343" y="1432471"/>
            <a:ext cx="5881817" cy="378471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6499653" y="1764039"/>
            <a:ext cx="5156887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/>
              <a:t>Схемы </a:t>
            </a:r>
            <a:r>
              <a:rPr lang="ru-RU" sz="1200" dirty="0" smtClean="0"/>
              <a:t>профилей </a:t>
            </a:r>
            <a:r>
              <a:rPr lang="ru-RU" sz="1200" dirty="0"/>
              <a:t>земляного полотна с применением ЗШС</a:t>
            </a:r>
            <a:endParaRPr lang="ru-RU" sz="1200" dirty="0" smtClean="0"/>
          </a:p>
          <a:p>
            <a:endParaRPr lang="ru-RU" sz="1200" dirty="0"/>
          </a:p>
          <a:p>
            <a:r>
              <a:rPr lang="ru-RU" sz="1200" dirty="0" smtClean="0"/>
              <a:t>А</a:t>
            </a:r>
            <a:r>
              <a:rPr lang="ru-RU" sz="1200" dirty="0"/>
              <a:t>, Б – при II, III типах местности по условиям увлажнения; </a:t>
            </a:r>
            <a:endParaRPr lang="ru-RU" sz="1200" dirty="0" smtClean="0"/>
          </a:p>
          <a:p>
            <a:r>
              <a:rPr lang="ru-RU" sz="1200" dirty="0" smtClean="0"/>
              <a:t>В</a:t>
            </a:r>
            <a:r>
              <a:rPr lang="ru-RU" sz="1200" dirty="0"/>
              <a:t>, Г – на сухих участках; </a:t>
            </a:r>
            <a:endParaRPr lang="ru-RU" sz="1200" dirty="0" smtClean="0"/>
          </a:p>
          <a:p>
            <a:endParaRPr lang="ru-RU" sz="1200" dirty="0" smtClean="0"/>
          </a:p>
          <a:p>
            <a:r>
              <a:rPr lang="ru-RU" sz="1200" dirty="0" smtClean="0"/>
              <a:t>1 </a:t>
            </a:r>
            <a:r>
              <a:rPr lang="ru-RU" sz="1200" dirty="0"/>
              <a:t>– </a:t>
            </a:r>
            <a:r>
              <a:rPr lang="ru-RU" sz="1200" dirty="0" smtClean="0"/>
              <a:t>ЗШМ; </a:t>
            </a:r>
          </a:p>
          <a:p>
            <a:r>
              <a:rPr lang="ru-RU" sz="1200" dirty="0" smtClean="0"/>
              <a:t>2 </a:t>
            </a:r>
            <a:r>
              <a:rPr lang="ru-RU" sz="1200" dirty="0"/>
              <a:t>– дорожная одежда (с краевой полосой); </a:t>
            </a:r>
            <a:endParaRPr lang="ru-RU" sz="1200" dirty="0" smtClean="0"/>
          </a:p>
          <a:p>
            <a:r>
              <a:rPr lang="ru-RU" sz="1200" dirty="0" smtClean="0"/>
              <a:t>3 </a:t>
            </a:r>
            <a:r>
              <a:rPr lang="ru-RU" sz="1200" dirty="0"/>
              <a:t>– </a:t>
            </a:r>
            <a:r>
              <a:rPr lang="ru-RU" sz="1200" dirty="0" smtClean="0"/>
              <a:t>укрепленная </a:t>
            </a:r>
            <a:r>
              <a:rPr lang="ru-RU" sz="1200" dirty="0"/>
              <a:t>обочина; </a:t>
            </a:r>
            <a:endParaRPr lang="ru-RU" sz="1200" dirty="0" smtClean="0"/>
          </a:p>
          <a:p>
            <a:r>
              <a:rPr lang="ru-RU" sz="1200" dirty="0" smtClean="0"/>
              <a:t>4 </a:t>
            </a:r>
            <a:r>
              <a:rPr lang="ru-RU" sz="1200" dirty="0"/>
              <a:t>– плоская комбинированная </a:t>
            </a:r>
            <a:r>
              <a:rPr lang="ru-RU" sz="1200" dirty="0" err="1" smtClean="0"/>
              <a:t>георешетка</a:t>
            </a:r>
            <a:r>
              <a:rPr lang="ru-RU" sz="1200" dirty="0"/>
              <a:t>; </a:t>
            </a:r>
            <a:endParaRPr lang="ru-RU" sz="1200" dirty="0" smtClean="0"/>
          </a:p>
          <a:p>
            <a:r>
              <a:rPr lang="ru-RU" sz="1200" dirty="0" smtClean="0"/>
              <a:t>5 </a:t>
            </a:r>
            <a:r>
              <a:rPr lang="ru-RU" sz="1200" dirty="0"/>
              <a:t>– растительный или связный грунт с посевом трав; </a:t>
            </a:r>
            <a:endParaRPr lang="ru-RU" sz="1200" dirty="0" smtClean="0"/>
          </a:p>
          <a:p>
            <a:r>
              <a:rPr lang="ru-RU" sz="1200" dirty="0" smtClean="0"/>
              <a:t>6 </a:t>
            </a:r>
            <a:r>
              <a:rPr lang="ru-RU" sz="1200" dirty="0"/>
              <a:t>– </a:t>
            </a:r>
            <a:r>
              <a:rPr lang="ru-RU" sz="1200" dirty="0" err="1"/>
              <a:t>непучинистый</a:t>
            </a:r>
            <a:r>
              <a:rPr lang="ru-RU" sz="1200" dirty="0"/>
              <a:t> или </a:t>
            </a:r>
            <a:r>
              <a:rPr lang="ru-RU" sz="1200" dirty="0" err="1"/>
              <a:t>слабопучинистый</a:t>
            </a:r>
            <a:r>
              <a:rPr lang="ru-RU" sz="1200" dirty="0"/>
              <a:t> грунт; </a:t>
            </a:r>
            <a:endParaRPr lang="ru-RU" sz="1200" dirty="0" smtClean="0"/>
          </a:p>
          <a:p>
            <a:r>
              <a:rPr lang="ru-RU" sz="1200" dirty="0" smtClean="0"/>
              <a:t>7 </a:t>
            </a:r>
            <a:r>
              <a:rPr lang="ru-RU" sz="1200" dirty="0"/>
              <a:t>– дренирующий или связный грунт</a:t>
            </a:r>
            <a:r>
              <a:rPr lang="ru-RU" sz="1200" dirty="0" smtClean="0"/>
              <a:t>;</a:t>
            </a:r>
          </a:p>
          <a:p>
            <a:r>
              <a:rPr lang="ru-RU" sz="1200" dirty="0" smtClean="0"/>
              <a:t>8 </a:t>
            </a:r>
            <a:r>
              <a:rPr lang="ru-RU" sz="1200" dirty="0"/>
              <a:t>– берма из глинистого грунта; </a:t>
            </a:r>
            <a:endParaRPr lang="ru-RU" sz="1200" dirty="0" smtClean="0"/>
          </a:p>
          <a:p>
            <a:r>
              <a:rPr lang="ru-RU" sz="1200" dirty="0" smtClean="0"/>
              <a:t>9 </a:t>
            </a:r>
            <a:r>
              <a:rPr lang="ru-RU" sz="1200" dirty="0"/>
              <a:t>– </a:t>
            </a:r>
            <a:r>
              <a:rPr lang="ru-RU" sz="1200" dirty="0" err="1"/>
              <a:t>объѐмный</a:t>
            </a:r>
            <a:r>
              <a:rPr lang="ru-RU" sz="1200" dirty="0"/>
              <a:t> </a:t>
            </a:r>
            <a:r>
              <a:rPr lang="ru-RU" sz="1200" dirty="0" err="1"/>
              <a:t>геомат</a:t>
            </a:r>
            <a:r>
              <a:rPr lang="ru-RU" sz="1200" dirty="0"/>
              <a:t> c </a:t>
            </a:r>
            <a:r>
              <a:rPr lang="ru-RU" sz="1200" dirty="0" err="1"/>
              <a:t>геотекстилем</a:t>
            </a:r>
            <a:r>
              <a:rPr lang="ru-RU" sz="1200" dirty="0"/>
              <a:t>; </a:t>
            </a:r>
            <a:endParaRPr lang="ru-RU" sz="1200" dirty="0" smtClean="0"/>
          </a:p>
          <a:p>
            <a:r>
              <a:rPr lang="ru-RU" sz="1200" dirty="0" smtClean="0"/>
              <a:t>10 </a:t>
            </a:r>
            <a:r>
              <a:rPr lang="ru-RU" sz="1200" dirty="0"/>
              <a:t>– матрас </a:t>
            </a:r>
            <a:r>
              <a:rPr lang="ru-RU" sz="1200" dirty="0" err="1"/>
              <a:t>рено</a:t>
            </a:r>
            <a:r>
              <a:rPr lang="ru-RU" sz="1200" dirty="0"/>
              <a:t> и </a:t>
            </a:r>
            <a:r>
              <a:rPr lang="ru-RU" sz="1200" dirty="0" smtClean="0"/>
              <a:t>габион </a:t>
            </a:r>
            <a:r>
              <a:rPr lang="ru-RU" sz="1200" dirty="0"/>
              <a:t>с </a:t>
            </a:r>
            <a:r>
              <a:rPr lang="ru-RU" sz="1200" dirty="0" err="1"/>
              <a:t>геотекстилем</a:t>
            </a:r>
            <a:r>
              <a:rPr lang="ru-RU" sz="1200" dirty="0"/>
              <a:t>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262343" y="5426228"/>
            <a:ext cx="1013886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При проектировании земляного полотна с использованием ЗШС могут применяться типовые решения </a:t>
            </a:r>
            <a:endParaRPr lang="ru-RU" sz="1200" dirty="0" smtClean="0"/>
          </a:p>
          <a:p>
            <a:r>
              <a:rPr lang="ru-RU" sz="1200" dirty="0" smtClean="0"/>
              <a:t>(</a:t>
            </a:r>
            <a:r>
              <a:rPr lang="ru-RU" sz="1200" dirty="0"/>
              <a:t>характерные для мелкого и </a:t>
            </a:r>
            <a:r>
              <a:rPr lang="ru-RU" sz="1200" dirty="0" smtClean="0"/>
              <a:t>пылеватого песка</a:t>
            </a:r>
            <a:r>
              <a:rPr lang="ru-RU" sz="1200" dirty="0"/>
              <a:t>) с индивидуальной привязкой или индивидуальные решения по СНиП </a:t>
            </a:r>
            <a:r>
              <a:rPr lang="ru-RU" sz="1200" dirty="0" smtClean="0"/>
              <a:t>2.05.02-85. </a:t>
            </a:r>
          </a:p>
          <a:p>
            <a:r>
              <a:rPr lang="ru-RU" sz="1200" dirty="0" smtClean="0"/>
              <a:t>На </a:t>
            </a:r>
            <a:r>
              <a:rPr lang="ru-RU" sz="1200" dirty="0"/>
              <a:t>рисунке </a:t>
            </a:r>
            <a:r>
              <a:rPr lang="ru-RU" sz="1200" dirty="0" smtClean="0"/>
              <a:t>представлены </a:t>
            </a:r>
            <a:r>
              <a:rPr lang="ru-RU" sz="1200" dirty="0"/>
              <a:t>примерные схемы </a:t>
            </a:r>
            <a:r>
              <a:rPr lang="ru-RU" sz="1200" dirty="0" smtClean="0"/>
              <a:t>земляного </a:t>
            </a:r>
            <a:r>
              <a:rPr lang="ru-RU" sz="1200" dirty="0"/>
              <a:t>полотна с использованием ЗШМ по ОДМ 218.2.031-2013</a:t>
            </a:r>
          </a:p>
        </p:txBody>
      </p:sp>
    </p:spTree>
    <p:extLst>
      <p:ext uri="{BB962C8B-B14F-4D97-AF65-F5344CB8AC3E}">
        <p14:creationId xmlns:p14="http://schemas.microsoft.com/office/powerpoint/2010/main" val="209323126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E6EC3E7-CE1F-2001-0319-BB4712E51D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2356" y="400167"/>
            <a:ext cx="8634187" cy="707072"/>
          </a:xfrm>
        </p:spPr>
        <p:txBody>
          <a:bodyPr/>
          <a:lstStyle/>
          <a:p>
            <a:r>
              <a:rPr lang="ru-RU" dirty="0"/>
              <a:t>Применение ЗШМ Северской ТЭЦ </a:t>
            </a:r>
            <a:r>
              <a:rPr lang="ru-RU" dirty="0" smtClean="0"/>
              <a:t>(3/4)</a:t>
            </a:r>
            <a:endParaRPr lang="ru-RU" dirty="0"/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B971627-D456-47BB-F765-704B45B8EA1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8793" y="1612115"/>
            <a:ext cx="3549734" cy="210872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29FFDCB-2005-14CF-4AE0-D80DB6DD65E8}"/>
              </a:ext>
            </a:extLst>
          </p:cNvPr>
          <p:cNvSpPr txBox="1"/>
          <p:nvPr/>
        </p:nvSpPr>
        <p:spPr>
          <a:xfrm>
            <a:off x="514350" y="1047750"/>
            <a:ext cx="8712193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47598F"/>
                </a:solidFill>
              </a:rPr>
              <a:t>Использование </a:t>
            </a:r>
            <a:r>
              <a:rPr lang="ru-RU" b="1" dirty="0" smtClean="0">
                <a:solidFill>
                  <a:srgbClr val="47598F"/>
                </a:solidFill>
              </a:rPr>
              <a:t>ЗШМ при </a:t>
            </a:r>
            <a:r>
              <a:rPr lang="ru-RU" b="1" dirty="0">
                <a:solidFill>
                  <a:srgbClr val="47598F"/>
                </a:solidFill>
              </a:rPr>
              <a:t>эксплуатации </a:t>
            </a:r>
            <a:r>
              <a:rPr lang="ru-RU" b="1" dirty="0" smtClean="0">
                <a:solidFill>
                  <a:srgbClr val="47598F"/>
                </a:solidFill>
              </a:rPr>
              <a:t>и консервации полигонов </a:t>
            </a:r>
            <a:r>
              <a:rPr lang="ru-RU" b="1" dirty="0">
                <a:solidFill>
                  <a:srgbClr val="47598F"/>
                </a:solidFill>
              </a:rPr>
              <a:t>ТКО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98A3F2EE-86BC-6BD0-B3B7-B7BD92BF8F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350" y="1586682"/>
            <a:ext cx="2286000" cy="2000789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7070CCC2-420D-DBA6-71A9-8407EEA0405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00350" y="2206639"/>
            <a:ext cx="1098443" cy="91061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13681" y="4608978"/>
            <a:ext cx="1112956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/>
              <a:t>В г. Омске </a:t>
            </a:r>
            <a:r>
              <a:rPr lang="ru-RU" sz="1200" dirty="0"/>
              <a:t>в 2022г. </a:t>
            </a:r>
            <a:r>
              <a:rPr lang="ru-RU" sz="1200" dirty="0" smtClean="0"/>
              <a:t>при ликвидации накопленного вреда окружающей среде (закрытый полигон ТКО Советского административного округа) применено 65 тыс. тонн ЗШМ с золоотвала ТЭЦ-4. </a:t>
            </a:r>
          </a:p>
          <a:p>
            <a:r>
              <a:rPr lang="ru-RU" sz="1200" dirty="0" smtClean="0"/>
              <a:t>В 2024 рассматривается применение этой технологии на полигонах Ленинского и Кировского административного округов г. Омска </a:t>
            </a:r>
          </a:p>
          <a:p>
            <a:endParaRPr lang="ru-RU" sz="1200" dirty="0"/>
          </a:p>
          <a:p>
            <a:r>
              <a:rPr lang="ru-RU" sz="1200" dirty="0"/>
              <a:t>В Томской </a:t>
            </a:r>
            <a:r>
              <a:rPr lang="ru-RU" sz="1200" dirty="0" smtClean="0"/>
              <a:t>области в 2024г</a:t>
            </a:r>
            <a:r>
              <a:rPr lang="ru-RU" sz="1200" dirty="0"/>
              <a:t>.</a:t>
            </a:r>
            <a:r>
              <a:rPr lang="ru-RU" sz="1200" dirty="0" smtClean="0"/>
              <a:t> </a:t>
            </a:r>
            <a:r>
              <a:rPr lang="ru-RU" sz="1200" dirty="0"/>
              <a:t>планируется </a:t>
            </a:r>
            <a:r>
              <a:rPr lang="ru-RU" sz="1200" dirty="0" smtClean="0"/>
              <a:t>использование золошлаковых </a:t>
            </a:r>
            <a:r>
              <a:rPr lang="ru-RU" sz="1200" dirty="0"/>
              <a:t>материалов в качестве техногенных грунтов </a:t>
            </a:r>
            <a:r>
              <a:rPr lang="ru-RU" sz="1200" dirty="0" smtClean="0"/>
              <a:t>при консервации полигона твердых </a:t>
            </a:r>
            <a:r>
              <a:rPr lang="ru-RU" sz="1200" dirty="0"/>
              <a:t>коммунальных </a:t>
            </a:r>
            <a:r>
              <a:rPr lang="ru-RU" sz="1200" dirty="0" smtClean="0"/>
              <a:t>отходов.</a:t>
            </a:r>
            <a:endParaRPr lang="ru-RU" sz="1200" dirty="0"/>
          </a:p>
        </p:txBody>
      </p:sp>
      <p:sp>
        <p:nvSpPr>
          <p:cNvPr id="9" name="TextBox 8"/>
          <p:cNvSpPr txBox="1"/>
          <p:nvPr/>
        </p:nvSpPr>
        <p:spPr>
          <a:xfrm>
            <a:off x="7448527" y="1562978"/>
            <a:ext cx="3875548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/>
              <a:t>Конструкции применяемые при строительстве </a:t>
            </a:r>
          </a:p>
          <a:p>
            <a:r>
              <a:rPr lang="ru-RU" sz="1200" b="1" dirty="0" smtClean="0"/>
              <a:t>и консервации полигонов ТКО (снизу вверх)</a:t>
            </a:r>
            <a:endParaRPr lang="ru-RU" sz="1200" b="1" dirty="0"/>
          </a:p>
          <a:p>
            <a:r>
              <a:rPr lang="ru-RU" sz="1200" u="sng" dirty="0" smtClean="0"/>
              <a:t>Экран в основании свалки:</a:t>
            </a:r>
          </a:p>
          <a:p>
            <a:pPr marL="285750" indent="-285750">
              <a:buFontTx/>
              <a:buChar char="-"/>
            </a:pPr>
            <a:r>
              <a:rPr lang="ru-RU" sz="1200" dirty="0" err="1" smtClean="0"/>
              <a:t>Бентонитовый</a:t>
            </a:r>
            <a:r>
              <a:rPr lang="ru-RU" sz="1200" dirty="0" smtClean="0"/>
              <a:t> мат;</a:t>
            </a:r>
          </a:p>
          <a:p>
            <a:pPr marL="285750" indent="-285750">
              <a:buFontTx/>
              <a:buChar char="-"/>
            </a:pPr>
            <a:r>
              <a:rPr lang="ru-RU" sz="1200" dirty="0" smtClean="0"/>
              <a:t>Гидромат 3</a:t>
            </a:r>
            <a:r>
              <a:rPr lang="en-US" sz="1200" dirty="0" smtClean="0"/>
              <a:t>D</a:t>
            </a:r>
            <a:r>
              <a:rPr lang="ru-RU" sz="1200" dirty="0" smtClean="0"/>
              <a:t>;</a:t>
            </a:r>
          </a:p>
          <a:p>
            <a:pPr marL="285750" indent="-285750">
              <a:buFontTx/>
              <a:buChar char="-"/>
            </a:pPr>
            <a:r>
              <a:rPr lang="ru-RU" sz="1200" dirty="0" err="1" smtClean="0"/>
              <a:t>Геомембрана</a:t>
            </a:r>
            <a:r>
              <a:rPr lang="ru-RU" sz="1200" dirty="0" smtClean="0"/>
              <a:t>;</a:t>
            </a:r>
          </a:p>
          <a:p>
            <a:pPr marL="285750" indent="-285750">
              <a:buFontTx/>
              <a:buChar char="-"/>
            </a:pPr>
            <a:r>
              <a:rPr lang="ru-RU" sz="1200" dirty="0" smtClean="0"/>
              <a:t>Защитный слой (ЗШМ)</a:t>
            </a:r>
          </a:p>
          <a:p>
            <a:r>
              <a:rPr lang="ru-RU" sz="1200" u="sng" dirty="0" smtClean="0"/>
              <a:t>Экран на поверхности свалки:</a:t>
            </a:r>
          </a:p>
          <a:p>
            <a:pPr marL="285750" indent="-285750">
              <a:buFontTx/>
              <a:buChar char="-"/>
            </a:pPr>
            <a:r>
              <a:rPr lang="ru-RU" sz="1200" dirty="0" smtClean="0"/>
              <a:t>Выравнивающий слой (ЗШМ)</a:t>
            </a:r>
          </a:p>
          <a:p>
            <a:pPr marL="285750" indent="-285750">
              <a:buFontTx/>
              <a:buChar char="-"/>
            </a:pPr>
            <a:r>
              <a:rPr lang="ru-RU" sz="1200" dirty="0" smtClean="0"/>
              <a:t>Дренажный слой для </a:t>
            </a:r>
            <a:r>
              <a:rPr lang="ru-RU" sz="1200" dirty="0"/>
              <a:t>биогаза (Гидромат 3</a:t>
            </a:r>
            <a:r>
              <a:rPr lang="en-US" sz="1200" dirty="0" smtClean="0"/>
              <a:t>D</a:t>
            </a:r>
            <a:r>
              <a:rPr lang="ru-RU" sz="1200" dirty="0" smtClean="0"/>
              <a:t>)</a:t>
            </a:r>
            <a:r>
              <a:rPr lang="en-US" sz="1200" dirty="0" smtClean="0"/>
              <a:t>;</a:t>
            </a:r>
            <a:endParaRPr lang="en-US" sz="1200" dirty="0"/>
          </a:p>
          <a:p>
            <a:pPr marL="285750" indent="-285750">
              <a:buFontTx/>
              <a:buChar char="-"/>
            </a:pPr>
            <a:r>
              <a:rPr lang="ru-RU" sz="1200" dirty="0" err="1" smtClean="0"/>
              <a:t>Бентонитовый</a:t>
            </a:r>
            <a:r>
              <a:rPr lang="ru-RU" sz="1200" dirty="0" smtClean="0"/>
              <a:t> мат;</a:t>
            </a:r>
          </a:p>
          <a:p>
            <a:pPr marL="285750" indent="-285750">
              <a:buFontTx/>
              <a:buChar char="-"/>
            </a:pPr>
            <a:r>
              <a:rPr lang="ru-RU" sz="1200" dirty="0" err="1" smtClean="0"/>
              <a:t>Геомембрана</a:t>
            </a:r>
            <a:r>
              <a:rPr lang="ru-RU" sz="1200" dirty="0" smtClean="0"/>
              <a:t>;</a:t>
            </a:r>
          </a:p>
          <a:p>
            <a:pPr marL="285750" indent="-285750">
              <a:buFontTx/>
              <a:buChar char="-"/>
            </a:pPr>
            <a:r>
              <a:rPr lang="ru-RU" sz="1200" dirty="0" smtClean="0"/>
              <a:t>Дренажный </a:t>
            </a:r>
            <a:r>
              <a:rPr lang="ru-RU" sz="1200" dirty="0" err="1" smtClean="0"/>
              <a:t>геокомпозитный</a:t>
            </a:r>
            <a:r>
              <a:rPr lang="ru-RU" sz="1200" dirty="0" smtClean="0"/>
              <a:t> материал;</a:t>
            </a:r>
          </a:p>
          <a:p>
            <a:pPr marL="285750" indent="-285750">
              <a:buFontTx/>
              <a:buChar char="-"/>
            </a:pPr>
            <a:r>
              <a:rPr lang="ru-RU" sz="1200" dirty="0" smtClean="0"/>
              <a:t>Заполняющий слой грунта.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054480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D71E1BAA-9C8D-3FB1-C330-6F358886C2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7225" y="398463"/>
            <a:ext cx="8634413" cy="708025"/>
          </a:xfrm>
        </p:spPr>
        <p:txBody>
          <a:bodyPr/>
          <a:lstStyle/>
          <a:p>
            <a:r>
              <a:rPr lang="ru-RU" dirty="0"/>
              <a:t>Применение ЗШМ Северской ТЭЦ </a:t>
            </a:r>
            <a:r>
              <a:rPr lang="ru-RU" dirty="0" smtClean="0"/>
              <a:t>(4</a:t>
            </a:r>
            <a:r>
              <a:rPr lang="en-US" dirty="0" smtClean="0"/>
              <a:t>/</a:t>
            </a:r>
            <a:r>
              <a:rPr lang="ru-RU" dirty="0" smtClean="0"/>
              <a:t>4)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7" name="Рисунок 16">
            <a:extLst>
              <a:ext uri="{FF2B5EF4-FFF2-40B4-BE49-F238E27FC236}">
                <a16:creationId xmlns:a16="http://schemas.microsoft.com/office/drawing/2014/main" id="{61CAEB04-2A65-9E22-F85E-F6CBD32FFF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saturation sat="3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85910" y="2033864"/>
            <a:ext cx="1897870" cy="1926893"/>
          </a:xfrm>
          <a:prstGeom prst="ellipse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47EFEF5C-318F-48F7-9661-A988F5EE76BE}"/>
              </a:ext>
            </a:extLst>
          </p:cNvPr>
          <p:cNvGrpSpPr/>
          <p:nvPr/>
        </p:nvGrpSpPr>
        <p:grpSpPr>
          <a:xfrm>
            <a:off x="514350" y="2091014"/>
            <a:ext cx="1926895" cy="1875043"/>
            <a:chOff x="5658729" y="1436324"/>
            <a:chExt cx="1015886" cy="1015886"/>
          </a:xfrm>
        </p:grpSpPr>
        <p:sp>
          <p:nvSpPr>
            <p:cNvPr id="9" name="Овал 8">
              <a:extLst>
                <a:ext uri="{FF2B5EF4-FFF2-40B4-BE49-F238E27FC236}">
                  <a16:creationId xmlns:a16="http://schemas.microsoft.com/office/drawing/2014/main" id="{5B3364C3-EF32-7CC6-300B-E7ACF5D81F86}"/>
                </a:ext>
              </a:extLst>
            </p:cNvPr>
            <p:cNvSpPr/>
            <p:nvPr/>
          </p:nvSpPr>
          <p:spPr>
            <a:xfrm>
              <a:off x="5658729" y="1436324"/>
              <a:ext cx="1015886" cy="1015886"/>
            </a:xfrm>
            <a:prstGeom prst="ellipse">
              <a:avLst/>
            </a:prstGeom>
            <a:solidFill>
              <a:srgbClr val="47598F"/>
            </a:solidFill>
            <a:ln w="12700"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72000" rIns="72000" rtlCol="0" anchor="ctr"/>
            <a:lstStyle/>
            <a:p>
              <a:pPr algn="ctr"/>
              <a:endParaRPr lang="ru-RU" sz="1000" dirty="0">
                <a:solidFill>
                  <a:schemeClr val="tx2"/>
                </a:solidFill>
              </a:endParaRP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id="{4A764EFC-1FFD-48B1-6981-705AA94AC7E7}"/>
                </a:ext>
              </a:extLst>
            </p:cNvPr>
            <p:cNvSpPr/>
            <p:nvPr/>
          </p:nvSpPr>
          <p:spPr>
            <a:xfrm>
              <a:off x="5705026" y="1770172"/>
              <a:ext cx="923292" cy="400203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bg1"/>
                  </a:solidFill>
                </a:rPr>
                <a:t>Зольная составляющая </a:t>
              </a:r>
              <a:r>
                <a:rPr lang="ru-RU" sz="1400" dirty="0">
                  <a:solidFill>
                    <a:schemeClr val="bg1"/>
                  </a:solidFill>
                </a:rPr>
                <a:t/>
              </a:r>
              <a:br>
                <a:rPr lang="ru-RU" sz="1400" dirty="0">
                  <a:solidFill>
                    <a:schemeClr val="bg1"/>
                  </a:solidFill>
                </a:rPr>
              </a:br>
              <a:endParaRPr lang="pt-BR" sz="14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B18F19D2-6D91-1D60-961F-4ACE588B1B20}"/>
              </a:ext>
            </a:extLst>
          </p:cNvPr>
          <p:cNvCxnSpPr>
            <a:cxnSpLocks/>
          </p:cNvCxnSpPr>
          <p:nvPr/>
        </p:nvCxnSpPr>
        <p:spPr>
          <a:xfrm>
            <a:off x="8229246" y="2138089"/>
            <a:ext cx="0" cy="1876896"/>
          </a:xfrm>
          <a:prstGeom prst="line">
            <a:avLst/>
          </a:prstGeom>
          <a:ln w="15875" cap="rnd">
            <a:solidFill>
              <a:srgbClr val="47598F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3BB0C2FB-0CC7-659F-31E5-7BA4B1689E8C}"/>
              </a:ext>
            </a:extLst>
          </p:cNvPr>
          <p:cNvGrpSpPr/>
          <p:nvPr/>
        </p:nvGrpSpPr>
        <p:grpSpPr>
          <a:xfrm>
            <a:off x="3750582" y="2081758"/>
            <a:ext cx="4588837" cy="1906221"/>
            <a:chOff x="7031407" y="1377521"/>
            <a:chExt cx="2483353" cy="1712175"/>
          </a:xfrm>
          <a:noFill/>
        </p:grpSpPr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87F2D1B1-261F-9FCE-F179-DFF48B2B7F8B}"/>
                </a:ext>
              </a:extLst>
            </p:cNvPr>
            <p:cNvSpPr/>
            <p:nvPr/>
          </p:nvSpPr>
          <p:spPr>
            <a:xfrm>
              <a:off x="7031409" y="1377521"/>
              <a:ext cx="1962250" cy="2617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0" rtlCol="0" anchor="ctr"/>
            <a:lstStyle/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200" dirty="0" err="1">
                  <a:solidFill>
                    <a:srgbClr val="4B6B9B"/>
                  </a:solidFill>
                </a:rPr>
                <a:t>Тампонажные</a:t>
              </a:r>
              <a:r>
                <a:rPr lang="ru-RU" sz="1200" dirty="0">
                  <a:solidFill>
                    <a:srgbClr val="4B6B9B"/>
                  </a:solidFill>
                </a:rPr>
                <a:t> цементы</a:t>
              </a: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A75C4D33-FE46-E7B9-0EE7-BCA0D08DF13E}"/>
                </a:ext>
              </a:extLst>
            </p:cNvPr>
            <p:cNvSpPr/>
            <p:nvPr/>
          </p:nvSpPr>
          <p:spPr>
            <a:xfrm>
              <a:off x="7031409" y="1667612"/>
              <a:ext cx="1796905" cy="2617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0" rtlCol="0" anchor="ctr"/>
            <a:lstStyle/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200" dirty="0">
                  <a:solidFill>
                    <a:srgbClr val="4B6B9B"/>
                  </a:solidFill>
                </a:rPr>
                <a:t>Легкий бетон</a:t>
              </a:r>
            </a:p>
          </p:txBody>
        </p:sp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5F76D679-6398-F0A8-33B8-91ABD648F065}"/>
                </a:ext>
              </a:extLst>
            </p:cNvPr>
            <p:cNvSpPr/>
            <p:nvPr/>
          </p:nvSpPr>
          <p:spPr>
            <a:xfrm>
              <a:off x="7031409" y="1957703"/>
              <a:ext cx="1796905" cy="2617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0" rtlCol="0" anchor="ctr"/>
            <a:lstStyle/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200" dirty="0">
                  <a:solidFill>
                    <a:srgbClr val="4B6B9B"/>
                  </a:solidFill>
                </a:rPr>
                <a:t>Сухие строительные смеси</a:t>
              </a: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6ED3B678-01DD-93CF-2E1F-9C91E162CC37}"/>
                </a:ext>
              </a:extLst>
            </p:cNvPr>
            <p:cNvSpPr/>
            <p:nvPr/>
          </p:nvSpPr>
          <p:spPr>
            <a:xfrm>
              <a:off x="7031409" y="2247794"/>
              <a:ext cx="1796905" cy="2617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0" rtlCol="0" anchor="ctr"/>
            <a:lstStyle/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200" dirty="0" smtClean="0">
                  <a:solidFill>
                    <a:srgbClr val="4B6B9B"/>
                  </a:solidFill>
                </a:rPr>
                <a:t>Бетоны и растворы</a:t>
              </a:r>
              <a:r>
                <a:rPr lang="en-US" sz="1200" dirty="0" smtClean="0">
                  <a:solidFill>
                    <a:srgbClr val="4B6B9B"/>
                  </a:solidFill>
                </a:rPr>
                <a:t> </a:t>
              </a:r>
              <a:endParaRPr lang="ru-RU" sz="1200" dirty="0">
                <a:solidFill>
                  <a:srgbClr val="4B6B9B"/>
                </a:solidFill>
              </a:endParaRP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67B75DEA-69CD-9AFB-586D-A6298C2F16E0}"/>
                </a:ext>
              </a:extLst>
            </p:cNvPr>
            <p:cNvSpPr/>
            <p:nvPr/>
          </p:nvSpPr>
          <p:spPr>
            <a:xfrm>
              <a:off x="7031408" y="2537885"/>
              <a:ext cx="2476127" cy="2617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0" rtlCol="0" anchor="ctr"/>
            <a:lstStyle/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200" dirty="0" smtClean="0">
                  <a:solidFill>
                    <a:srgbClr val="4B6B9B"/>
                  </a:solidFill>
                </a:rPr>
                <a:t>Стабилизатор </a:t>
              </a:r>
              <a:r>
                <a:rPr lang="ru-RU" sz="1200" dirty="0">
                  <a:solidFill>
                    <a:srgbClr val="4B6B9B"/>
                  </a:solidFill>
                </a:rPr>
                <a:t>грунта</a:t>
              </a: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E61CA1EA-E093-00FC-8BFF-A99DF877AA9D}"/>
                </a:ext>
              </a:extLst>
            </p:cNvPr>
            <p:cNvSpPr/>
            <p:nvPr/>
          </p:nvSpPr>
          <p:spPr>
            <a:xfrm>
              <a:off x="7031407" y="2827975"/>
              <a:ext cx="2483353" cy="2617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Ins="0" rtlCol="0" anchor="ctr"/>
            <a:lstStyle/>
            <a:p>
              <a:pPr marL="171450" indent="-171450">
                <a:buFont typeface="Wingdings" panose="05000000000000000000" pitchFamily="2" charset="2"/>
                <a:buChar char="ü"/>
              </a:pPr>
              <a:r>
                <a:rPr lang="ru-RU" sz="1200" dirty="0">
                  <a:solidFill>
                    <a:srgbClr val="4B6B9B"/>
                  </a:solidFill>
                </a:rPr>
                <a:t>Стеновые керамические изделия</a:t>
              </a:r>
            </a:p>
          </p:txBody>
        </p:sp>
      </p:grpSp>
      <p:cxnSp>
        <p:nvCxnSpPr>
          <p:cNvPr id="19" name="Прямая соединительная линия 7">
            <a:extLst>
              <a:ext uri="{FF2B5EF4-FFF2-40B4-BE49-F238E27FC236}">
                <a16:creationId xmlns:a16="http://schemas.microsoft.com/office/drawing/2014/main" id="{25D57509-E342-34F0-7568-29F9CFFB797C}"/>
              </a:ext>
            </a:extLst>
          </p:cNvPr>
          <p:cNvCxnSpPr>
            <a:cxnSpLocks/>
            <a:stCxn id="7" idx="6"/>
            <a:endCxn id="13" idx="1"/>
          </p:cNvCxnSpPr>
          <p:nvPr/>
        </p:nvCxnSpPr>
        <p:spPr>
          <a:xfrm flipV="1">
            <a:off x="3083780" y="2227450"/>
            <a:ext cx="666806" cy="769861"/>
          </a:xfrm>
          <a:prstGeom prst="curvedConnector3">
            <a:avLst>
              <a:gd name="adj1" fmla="val 50000"/>
            </a:avLst>
          </a:prstGeom>
          <a:ln cap="rnd" cmpd="sng">
            <a:solidFill>
              <a:srgbClr val="47598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27">
            <a:extLst>
              <a:ext uri="{FF2B5EF4-FFF2-40B4-BE49-F238E27FC236}">
                <a16:creationId xmlns:a16="http://schemas.microsoft.com/office/drawing/2014/main" id="{FCACB4CD-8D07-8090-6455-E683B729D1F7}"/>
              </a:ext>
            </a:extLst>
          </p:cNvPr>
          <p:cNvCxnSpPr>
            <a:cxnSpLocks/>
            <a:stCxn id="7" idx="6"/>
            <a:endCxn id="16" idx="1"/>
          </p:cNvCxnSpPr>
          <p:nvPr/>
        </p:nvCxnSpPr>
        <p:spPr>
          <a:xfrm>
            <a:off x="3083780" y="2997311"/>
            <a:ext cx="666806" cy="199043"/>
          </a:xfrm>
          <a:prstGeom prst="curvedConnector3">
            <a:avLst>
              <a:gd name="adj1" fmla="val 50000"/>
            </a:avLst>
          </a:prstGeom>
          <a:ln cap="rnd" cmpd="sng">
            <a:solidFill>
              <a:srgbClr val="47598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9">
            <a:extLst>
              <a:ext uri="{FF2B5EF4-FFF2-40B4-BE49-F238E27FC236}">
                <a16:creationId xmlns:a16="http://schemas.microsoft.com/office/drawing/2014/main" id="{356F99E5-F942-D4CF-B079-AA55E4599C03}"/>
              </a:ext>
            </a:extLst>
          </p:cNvPr>
          <p:cNvCxnSpPr>
            <a:cxnSpLocks/>
            <a:stCxn id="7" idx="6"/>
            <a:endCxn id="15" idx="1"/>
          </p:cNvCxnSpPr>
          <p:nvPr/>
        </p:nvCxnSpPr>
        <p:spPr>
          <a:xfrm flipV="1">
            <a:off x="3083780" y="2873386"/>
            <a:ext cx="666806" cy="123925"/>
          </a:xfrm>
          <a:prstGeom prst="curvedConnector3">
            <a:avLst>
              <a:gd name="adj1" fmla="val 50000"/>
            </a:avLst>
          </a:prstGeom>
          <a:ln cap="rnd" cmpd="sng">
            <a:solidFill>
              <a:srgbClr val="47598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9">
            <a:extLst>
              <a:ext uri="{FF2B5EF4-FFF2-40B4-BE49-F238E27FC236}">
                <a16:creationId xmlns:a16="http://schemas.microsoft.com/office/drawing/2014/main" id="{84FE8B6F-708E-5266-D973-9B2FEF0A133F}"/>
              </a:ext>
            </a:extLst>
          </p:cNvPr>
          <p:cNvCxnSpPr>
            <a:cxnSpLocks/>
            <a:stCxn id="7" idx="6"/>
            <a:endCxn id="14" idx="1"/>
          </p:cNvCxnSpPr>
          <p:nvPr/>
        </p:nvCxnSpPr>
        <p:spPr>
          <a:xfrm flipV="1">
            <a:off x="3083780" y="2550418"/>
            <a:ext cx="666806" cy="446893"/>
          </a:xfrm>
          <a:prstGeom prst="curvedConnector3">
            <a:avLst>
              <a:gd name="adj1" fmla="val 50000"/>
            </a:avLst>
          </a:prstGeom>
          <a:ln cap="rnd" cmpd="sng">
            <a:solidFill>
              <a:srgbClr val="47598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7">
            <a:extLst>
              <a:ext uri="{FF2B5EF4-FFF2-40B4-BE49-F238E27FC236}">
                <a16:creationId xmlns:a16="http://schemas.microsoft.com/office/drawing/2014/main" id="{6DD9A1FE-8B65-A475-F1FE-C83AA9BA1185}"/>
              </a:ext>
            </a:extLst>
          </p:cNvPr>
          <p:cNvCxnSpPr>
            <a:cxnSpLocks/>
            <a:stCxn id="7" idx="6"/>
            <a:endCxn id="17" idx="1"/>
          </p:cNvCxnSpPr>
          <p:nvPr/>
        </p:nvCxnSpPr>
        <p:spPr>
          <a:xfrm>
            <a:off x="3083780" y="2997311"/>
            <a:ext cx="666804" cy="522011"/>
          </a:xfrm>
          <a:prstGeom prst="curvedConnector3">
            <a:avLst>
              <a:gd name="adj1" fmla="val 50000"/>
            </a:avLst>
          </a:prstGeom>
          <a:ln cap="rnd" cmpd="sng">
            <a:solidFill>
              <a:srgbClr val="47598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7">
            <a:extLst>
              <a:ext uri="{FF2B5EF4-FFF2-40B4-BE49-F238E27FC236}">
                <a16:creationId xmlns:a16="http://schemas.microsoft.com/office/drawing/2014/main" id="{2A5E6DBF-B3E5-1B36-A92D-1CB01EBB8EA9}"/>
              </a:ext>
            </a:extLst>
          </p:cNvPr>
          <p:cNvCxnSpPr>
            <a:cxnSpLocks/>
            <a:stCxn id="7" idx="6"/>
            <a:endCxn id="18" idx="1"/>
          </p:cNvCxnSpPr>
          <p:nvPr/>
        </p:nvCxnSpPr>
        <p:spPr>
          <a:xfrm>
            <a:off x="3083780" y="2997311"/>
            <a:ext cx="666802" cy="844977"/>
          </a:xfrm>
          <a:prstGeom prst="curvedConnector3">
            <a:avLst>
              <a:gd name="adj1" fmla="val 50000"/>
            </a:avLst>
          </a:prstGeom>
          <a:ln cap="rnd" cmpd="sng">
            <a:solidFill>
              <a:srgbClr val="47598F"/>
            </a:solidFill>
            <a:prstDash val="solid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D7B8E8DD-6C49-9BE2-B330-A1346E2DE7A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 rot="10800000" flipV="1">
            <a:off x="6117138" y="2258840"/>
            <a:ext cx="2056084" cy="968534"/>
          </a:xfrm>
          <a:prstGeom prst="rect">
            <a:avLst/>
          </a:prstGeom>
        </p:spPr>
      </p:pic>
      <p:sp>
        <p:nvSpPr>
          <p:cNvPr id="26" name="Стрелка: вправо 25">
            <a:extLst>
              <a:ext uri="{FF2B5EF4-FFF2-40B4-BE49-F238E27FC236}">
                <a16:creationId xmlns:a16="http://schemas.microsoft.com/office/drawing/2014/main" id="{7EA893DB-FA31-6EE4-99F1-B44FBC1A1C1A}"/>
              </a:ext>
            </a:extLst>
          </p:cNvPr>
          <p:cNvSpPr/>
          <p:nvPr/>
        </p:nvSpPr>
        <p:spPr>
          <a:xfrm>
            <a:off x="8238770" y="2647344"/>
            <a:ext cx="448956" cy="450287"/>
          </a:xfrm>
          <a:prstGeom prst="rightArrow">
            <a:avLst/>
          </a:prstGeom>
          <a:solidFill>
            <a:srgbClr val="47598F"/>
          </a:solidFill>
          <a:ln>
            <a:solidFill>
              <a:srgbClr val="47598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27" name="Рисунок 26">
            <a:extLst>
              <a:ext uri="{FF2B5EF4-FFF2-40B4-BE49-F238E27FC236}">
                <a16:creationId xmlns:a16="http://schemas.microsoft.com/office/drawing/2014/main" id="{5A608E13-36BA-5794-DF57-FBF29D5A01A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8398780" y="3043098"/>
            <a:ext cx="872590" cy="961630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7B7F258B-D001-BDAF-A49B-564E6975166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9033601" y="1445144"/>
            <a:ext cx="1927328" cy="2611800"/>
          </a:xfrm>
          <a:prstGeom prst="rect">
            <a:avLst/>
          </a:prstGeom>
        </p:spPr>
      </p:pic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BDE95333-6BF3-F2EC-FFF8-05A13D80E45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10381568" y="1530768"/>
            <a:ext cx="1365521" cy="1376996"/>
          </a:xfrm>
          <a:prstGeom prst="rect">
            <a:avLst/>
          </a:prstGeom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2722F921-6E8A-4324-E16D-4A6CE4DFCBC1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>
          <a:xfrm>
            <a:off x="7286097" y="3460093"/>
            <a:ext cx="822786" cy="430616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92B791FF-E008-42F2-9B1E-078D5E96A707}"/>
              </a:ext>
            </a:extLst>
          </p:cNvPr>
          <p:cNvSpPr txBox="1"/>
          <p:nvPr/>
        </p:nvSpPr>
        <p:spPr>
          <a:xfrm>
            <a:off x="514350" y="1047750"/>
            <a:ext cx="8373318" cy="3847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47598F"/>
                </a:solidFill>
              </a:rPr>
              <a:t>Использование зольной составляющей золошлаковых </a:t>
            </a:r>
            <a:r>
              <a:rPr lang="ru-RU" b="1" dirty="0" smtClean="0">
                <a:solidFill>
                  <a:srgbClr val="47598F"/>
                </a:solidFill>
              </a:rPr>
              <a:t>материалов</a:t>
            </a:r>
            <a:endParaRPr lang="ru-RU" b="1" dirty="0">
              <a:solidFill>
                <a:srgbClr val="47598F"/>
              </a:solidFill>
            </a:endParaRPr>
          </a:p>
        </p:txBody>
      </p:sp>
      <p:pic>
        <p:nvPicPr>
          <p:cNvPr id="31" name="Рисунок 30" descr="C:\Users\1\Desktop\ТЭФРА\СЕВЕРСКИЕ ЗШМ\ПРОЕКТ Северская ТЭЦ\ТДСК\Фото\Поверхность бетона.jpg">
            <a:extLst>
              <a:ext uri="{FF2B5EF4-FFF2-40B4-BE49-F238E27FC236}">
                <a16:creationId xmlns:a16="http://schemas.microsoft.com/office/drawing/2014/main" id="{52C41BB3-EE88-430B-8022-FD66EB302FE4}"/>
              </a:ext>
            </a:extLst>
          </p:cNvPr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3986" y="4084682"/>
            <a:ext cx="3293820" cy="2319427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Стрелка вправо 1"/>
          <p:cNvSpPr/>
          <p:nvPr/>
        </p:nvSpPr>
        <p:spPr>
          <a:xfrm rot="10800000">
            <a:off x="6421124" y="4881761"/>
            <a:ext cx="864973" cy="65229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7376508" y="4784653"/>
            <a:ext cx="333539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4B6B9B"/>
                </a:solidFill>
              </a:rPr>
              <a:t>Поверхность бетона на образцах:</a:t>
            </a:r>
          </a:p>
          <a:p>
            <a:endParaRPr lang="ru-RU" sz="1200" dirty="0" smtClean="0">
              <a:solidFill>
                <a:srgbClr val="4B6B9B"/>
              </a:solidFill>
            </a:endParaRPr>
          </a:p>
          <a:p>
            <a:r>
              <a:rPr lang="ru-RU" sz="1200" dirty="0" smtClean="0">
                <a:solidFill>
                  <a:srgbClr val="4B6B9B"/>
                </a:solidFill>
              </a:rPr>
              <a:t>Слева – с применением добавки ТЭФРА Б</a:t>
            </a:r>
          </a:p>
          <a:p>
            <a:endParaRPr lang="ru-RU" sz="1200" dirty="0" smtClean="0">
              <a:solidFill>
                <a:srgbClr val="4B6B9B"/>
              </a:solidFill>
            </a:endParaRPr>
          </a:p>
          <a:p>
            <a:r>
              <a:rPr lang="ru-RU" sz="1200" dirty="0" smtClean="0">
                <a:solidFill>
                  <a:srgbClr val="4B6B9B"/>
                </a:solidFill>
              </a:rPr>
              <a:t>Справа – контрольный образец</a:t>
            </a:r>
          </a:p>
          <a:p>
            <a:endParaRPr lang="ru-RU" sz="1200" dirty="0">
              <a:solidFill>
                <a:srgbClr val="4B6B9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534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лайды">
  <a:themeElements>
    <a:clrScheme name="Русатом">
      <a:dk1>
        <a:srgbClr val="26304D"/>
      </a:dk1>
      <a:lt1>
        <a:srgbClr val="FFFFFF"/>
      </a:lt1>
      <a:dk2>
        <a:srgbClr val="26304E"/>
      </a:dk2>
      <a:lt2>
        <a:srgbClr val="E1E7F8"/>
      </a:lt2>
      <a:accent1>
        <a:srgbClr val="ACC8F5"/>
      </a:accent1>
      <a:accent2>
        <a:srgbClr val="F6A655"/>
      </a:accent2>
      <a:accent3>
        <a:srgbClr val="95C763"/>
      </a:accent3>
      <a:accent4>
        <a:srgbClr val="FF9EAE"/>
      </a:accent4>
      <a:accent5>
        <a:srgbClr val="A396F8"/>
      </a:accent5>
      <a:accent6>
        <a:srgbClr val="B3B8C1"/>
      </a:accent6>
      <a:hlink>
        <a:srgbClr val="5085F1"/>
      </a:hlink>
      <a:folHlink>
        <a:srgbClr val="2659C0"/>
      </a:folHlink>
    </a:clrScheme>
    <a:fontScheme name="Golos_темная">
      <a:majorFont>
        <a:latin typeface="Golos Text"/>
        <a:ea typeface=""/>
        <a:cs typeface=""/>
      </a:majorFont>
      <a:minorFont>
        <a:latin typeface="Golos Tex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20201225" id="{FF5220DB-3A56-C64F-A004-0029BBD9E479}" vid="{0D39AF87-2529-B740-901E-5232173AF554}"/>
    </a:ext>
  </a:extLst>
</a:theme>
</file>

<file path=ppt/theme/theme1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Слайды">
  <a:themeElements>
    <a:clrScheme name="Русатом">
      <a:dk1>
        <a:srgbClr val="26304D"/>
      </a:dk1>
      <a:lt1>
        <a:srgbClr val="FFFFFF"/>
      </a:lt1>
      <a:dk2>
        <a:srgbClr val="26304E"/>
      </a:dk2>
      <a:lt2>
        <a:srgbClr val="E1E7F8"/>
      </a:lt2>
      <a:accent1>
        <a:srgbClr val="ACC8F5"/>
      </a:accent1>
      <a:accent2>
        <a:srgbClr val="F6A655"/>
      </a:accent2>
      <a:accent3>
        <a:srgbClr val="95C763"/>
      </a:accent3>
      <a:accent4>
        <a:srgbClr val="FF9EAE"/>
      </a:accent4>
      <a:accent5>
        <a:srgbClr val="A396F8"/>
      </a:accent5>
      <a:accent6>
        <a:srgbClr val="B3B8C1"/>
      </a:accent6>
      <a:hlink>
        <a:srgbClr val="5085F1"/>
      </a:hlink>
      <a:folHlink>
        <a:srgbClr val="2659C0"/>
      </a:folHlink>
    </a:clrScheme>
    <a:fontScheme name="Golos_темная">
      <a:majorFont>
        <a:latin typeface="Golos Text"/>
        <a:ea typeface=""/>
        <a:cs typeface=""/>
      </a:majorFont>
      <a:minorFont>
        <a:latin typeface="Golos Tex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20201225" id="{FF5220DB-3A56-C64F-A004-0029BBD9E479}" vid="{0D39AF87-2529-B740-901E-5232173AF554}"/>
    </a:ext>
  </a:extLst>
</a:theme>
</file>

<file path=ppt/theme/theme3.xml><?xml version="1.0" encoding="utf-8"?>
<a:theme xmlns:a="http://schemas.openxmlformats.org/drawingml/2006/main" name="Текст картинка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white_template" id="{815E4B3B-8E01-5242-B9F1-F7029D6381FB}" vid="{7389C019-FE70-D24D-871A-DAD941594136}"/>
    </a:ext>
  </a:extLst>
</a:theme>
</file>

<file path=ppt/theme/theme4.xml><?xml version="1.0" encoding="utf-8"?>
<a:theme xmlns:a="http://schemas.openxmlformats.org/drawingml/2006/main" name="1_Текст картинка">
  <a:themeElements>
    <a:clrScheme name="Росатом (акцен зеленый)">
      <a:dk1>
        <a:srgbClr val="333333"/>
      </a:dk1>
      <a:lt1>
        <a:sysClr val="window" lastClr="FFFFFF"/>
      </a:lt1>
      <a:dk2>
        <a:srgbClr val="FFFFFF"/>
      </a:dk2>
      <a:lt2>
        <a:srgbClr val="FFFFFF"/>
      </a:lt2>
      <a:accent1>
        <a:srgbClr val="293D6D"/>
      </a:accent1>
      <a:accent2>
        <a:srgbClr val="456EA9"/>
      </a:accent2>
      <a:accent3>
        <a:srgbClr val="68B0E0"/>
      </a:accent3>
      <a:accent4>
        <a:srgbClr val="ACC44D"/>
      </a:accent4>
      <a:accent5>
        <a:srgbClr val="4C9D8D"/>
      </a:accent5>
      <a:accent6>
        <a:srgbClr val="7F7F7F"/>
      </a:accent6>
      <a:hlink>
        <a:srgbClr val="414042"/>
      </a:hlink>
      <a:folHlink>
        <a:srgbClr val="414042"/>
      </a:folHlink>
    </a:clrScheme>
    <a:fontScheme name="Другая 3">
      <a:majorFont>
        <a:latin typeface="Rosatom"/>
        <a:ea typeface=""/>
        <a:cs typeface=""/>
      </a:majorFont>
      <a:minorFont>
        <a:latin typeface="Rosato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lIns="0" rIns="0" rtlCol="0" anchor="ctr"/>
      <a:lstStyle>
        <a:defPPr algn="ctr">
          <a:defRPr sz="1200" dirty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Презентация_Русатом Гринвэй_16х9_рус_белый" id="{E4137C38-AB34-4497-A369-AE7EED451B89}" vid="{21571F60-5C2D-4E04-937A-CE7215E15B1A}"/>
    </a:ext>
  </a:extLst>
</a:theme>
</file>

<file path=ppt/theme/theme5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Слайды">
  <a:themeElements>
    <a:clrScheme name="Русатом">
      <a:dk1>
        <a:srgbClr val="26304D"/>
      </a:dk1>
      <a:lt1>
        <a:srgbClr val="FFFFFF"/>
      </a:lt1>
      <a:dk2>
        <a:srgbClr val="26304E"/>
      </a:dk2>
      <a:lt2>
        <a:srgbClr val="E1E7F8"/>
      </a:lt2>
      <a:accent1>
        <a:srgbClr val="ACC8F5"/>
      </a:accent1>
      <a:accent2>
        <a:srgbClr val="F6A655"/>
      </a:accent2>
      <a:accent3>
        <a:srgbClr val="95C763"/>
      </a:accent3>
      <a:accent4>
        <a:srgbClr val="FF9EAE"/>
      </a:accent4>
      <a:accent5>
        <a:srgbClr val="A396F8"/>
      </a:accent5>
      <a:accent6>
        <a:srgbClr val="B3B8C1"/>
      </a:accent6>
      <a:hlink>
        <a:srgbClr val="5085F1"/>
      </a:hlink>
      <a:folHlink>
        <a:srgbClr val="2659C0"/>
      </a:folHlink>
    </a:clrScheme>
    <a:fontScheme name="Golos_темная">
      <a:majorFont>
        <a:latin typeface="Golos Text"/>
        <a:ea typeface=""/>
        <a:cs typeface=""/>
      </a:majorFont>
      <a:minorFont>
        <a:latin typeface="Golos Tex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20201225" id="{FF5220DB-3A56-C64F-A004-0029BBD9E479}" vid="{0D39AF87-2529-B740-901E-5232173AF554}"/>
    </a:ext>
  </a:extLst>
</a:theme>
</file>

<file path=ppt/theme/theme8.xml><?xml version="1.0" encoding="utf-8"?>
<a:theme xmlns:a="http://schemas.openxmlformats.org/drawingml/2006/main" name="4_Слайды">
  <a:themeElements>
    <a:clrScheme name="Русатом">
      <a:dk1>
        <a:srgbClr val="26304D"/>
      </a:dk1>
      <a:lt1>
        <a:srgbClr val="FFFFFF"/>
      </a:lt1>
      <a:dk2>
        <a:srgbClr val="26304E"/>
      </a:dk2>
      <a:lt2>
        <a:srgbClr val="E1E7F8"/>
      </a:lt2>
      <a:accent1>
        <a:srgbClr val="ACC8F5"/>
      </a:accent1>
      <a:accent2>
        <a:srgbClr val="F6A655"/>
      </a:accent2>
      <a:accent3>
        <a:srgbClr val="95C763"/>
      </a:accent3>
      <a:accent4>
        <a:srgbClr val="FF9EAE"/>
      </a:accent4>
      <a:accent5>
        <a:srgbClr val="A396F8"/>
      </a:accent5>
      <a:accent6>
        <a:srgbClr val="B3B8C1"/>
      </a:accent6>
      <a:hlink>
        <a:srgbClr val="5085F1"/>
      </a:hlink>
      <a:folHlink>
        <a:srgbClr val="2659C0"/>
      </a:folHlink>
    </a:clrScheme>
    <a:fontScheme name="Golos_темная">
      <a:majorFont>
        <a:latin typeface="Golos Text"/>
        <a:ea typeface=""/>
        <a:cs typeface=""/>
      </a:majorFont>
      <a:minorFont>
        <a:latin typeface="Golos Text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20201225" id="{FF5220DB-3A56-C64F-A004-0029BBD9E479}" vid="{0D39AF87-2529-B740-901E-5232173AF554}"/>
    </a:ext>
  </a:extLst>
</a:theme>
</file>

<file path=ppt/theme/theme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20201225 (1)</Template>
  <TotalTime>8273</TotalTime>
  <Words>910</Words>
  <Application>Microsoft Office PowerPoint</Application>
  <PresentationFormat>Широкоэкранный</PresentationFormat>
  <Paragraphs>174</Paragraphs>
  <Slides>1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8" baseType="lpstr">
      <vt:lpstr>Wingdings</vt:lpstr>
      <vt:lpstr>Calibri</vt:lpstr>
      <vt:lpstr>FavoritLightCondC</vt:lpstr>
      <vt:lpstr>Verdana</vt:lpstr>
      <vt:lpstr>Arial</vt:lpstr>
      <vt:lpstr>Golos Text</vt:lpstr>
      <vt:lpstr>FavoritCondC</vt:lpstr>
      <vt:lpstr>Rosatom</vt:lpstr>
      <vt:lpstr>Слайды</vt:lpstr>
      <vt:lpstr>2_Слайды</vt:lpstr>
      <vt:lpstr>Текст картинка</vt:lpstr>
      <vt:lpstr>1_Текст картинка</vt:lpstr>
      <vt:lpstr>b-default</vt:lpstr>
      <vt:lpstr>24_b-default</vt:lpstr>
      <vt:lpstr>3_Слайды</vt:lpstr>
      <vt:lpstr>4_Слайды</vt:lpstr>
      <vt:lpstr>Слайд think-cell</vt:lpstr>
      <vt:lpstr>Презентация PowerPoint</vt:lpstr>
      <vt:lpstr>Описание ситуации с ЗШО в РФ</vt:lpstr>
      <vt:lpstr>Презентация PowerPoint</vt:lpstr>
      <vt:lpstr>Статус реализации проекта переработки золошлаковых отходов золоотвала Северской ТЭЦ</vt:lpstr>
      <vt:lpstr>Сбор и переработка золы уноса Северской ТЭЦ</vt:lpstr>
      <vt:lpstr>Применение ЗШМ Северской ТЭЦ (1/4)</vt:lpstr>
      <vt:lpstr>Применение ЗШМ Северской ТЭЦ (2/4) </vt:lpstr>
      <vt:lpstr>Применение ЗШМ Северской ТЭЦ (3/4)</vt:lpstr>
      <vt:lpstr>Применение ЗШМ Северской ТЭЦ (4/4) </vt:lpstr>
      <vt:lpstr>Реализованные проекты применения ЗШМ в России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лександр Соколов</dc:creator>
  <cp:lastModifiedBy>Тюрина Ольга Владимировна</cp:lastModifiedBy>
  <cp:revision>550</cp:revision>
  <cp:lastPrinted>2022-11-10T01:32:50Z</cp:lastPrinted>
  <dcterms:created xsi:type="dcterms:W3CDTF">2021-03-01T07:22:22Z</dcterms:created>
  <dcterms:modified xsi:type="dcterms:W3CDTF">2023-04-19T07:05:26Z</dcterms:modified>
</cp:coreProperties>
</file>